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wdp" ContentType="image/vnd.ms-photo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theme/theme2.xml" ContentType="application/vnd.openxmlformats-officedocument.theme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theme/theme3.xml" ContentType="application/vnd.openxmlformats-officedocument.theme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theme/theme4.xml" ContentType="application/vnd.openxmlformats-officedocument.theme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theme/theme5.xml" ContentType="application/vnd.openxmlformats-officedocument.theme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theme/theme6.xml" ContentType="application/vnd.openxmlformats-officedocument.theme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theme/theme7.xml" ContentType="application/vnd.openxmlformats-officedocument.theme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theme/theme8.xml" ContentType="application/vnd.openxmlformats-officedocument.theme+xml"/>
  <Override PartName="/ppt/theme/theme9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tags/tag4.xml" ContentType="application/vnd.openxmlformats-officedocument.presentationml.tags+xml"/>
  <Override PartName="/ppt/notesSlides/notesSlide2.xml" ContentType="application/vnd.openxmlformats-officedocument.presentationml.notesSlide+xml"/>
  <Override PartName="/ppt/tags/tag5.xml" ContentType="application/vnd.openxmlformats-officedocument.presentationml.tags+xml"/>
  <Override PartName="/ppt/notesSlides/notesSlide3.xml" ContentType="application/vnd.openxmlformats-officedocument.presentationml.notesSlide+xml"/>
  <Override PartName="/ppt/tags/tag6.xml" ContentType="application/vnd.openxmlformats-officedocument.presentationml.tags+xml"/>
  <Override PartName="/ppt/notesSlides/notesSlide4.xml" ContentType="application/vnd.openxmlformats-officedocument.presentationml.notesSlide+xml"/>
  <Override PartName="/ppt/tags/tag7.xml" ContentType="application/vnd.openxmlformats-officedocument.presentationml.tags+xml"/>
  <Override PartName="/ppt/notesSlides/notesSlide5.xml" ContentType="application/vnd.openxmlformats-officedocument.presentationml.notesSlide+xml"/>
  <Override PartName="/ppt/tags/tag8.xml" ContentType="application/vnd.openxmlformats-officedocument.presentationml.tags+xml"/>
  <Override PartName="/ppt/notesSlides/notesSlide6.xml" ContentType="application/vnd.openxmlformats-officedocument.presentationml.notesSlide+xml"/>
  <Override PartName="/ppt/tags/tag9.xml" ContentType="application/vnd.openxmlformats-officedocument.presentationml.tags+xml"/>
  <Override PartName="/ppt/notesSlides/notesSlide7.xml" ContentType="application/vnd.openxmlformats-officedocument.presentationml.notesSlide+xml"/>
  <Override PartName="/ppt/tags/tag10.xml" ContentType="application/vnd.openxmlformats-officedocument.presentationml.tags+xml"/>
  <Override PartName="/ppt/notesSlides/notesSlide8.xml" ContentType="application/vnd.openxmlformats-officedocument.presentationml.notesSlide+xml"/>
  <Override PartName="/ppt/tags/tag11.xml" ContentType="application/vnd.openxmlformats-officedocument.presentationml.tags+xml"/>
  <Override PartName="/ppt/notesSlides/notesSlide9.xml" ContentType="application/vnd.openxmlformats-officedocument.presentationml.notesSlide+xml"/>
  <Override PartName="/ppt/tags/tag12.xml" ContentType="application/vnd.openxmlformats-officedocument.presentationml.tags+xml"/>
  <Override PartName="/ppt/notesSlides/notesSlide10.xml" ContentType="application/vnd.openxmlformats-officedocument.presentationml.notesSlide+xml"/>
  <Override PartName="/ppt/tags/tag13.xml" ContentType="application/vnd.openxmlformats-officedocument.presentationml.tags+xml"/>
  <Override PartName="/ppt/notesSlides/notesSlide11.xml" ContentType="application/vnd.openxmlformats-officedocument.presentationml.notesSlide+xml"/>
  <Override PartName="/ppt/tags/tag14.xml" ContentType="application/vnd.openxmlformats-officedocument.presentationml.tags+xml"/>
  <Override PartName="/ppt/notesSlides/notesSlide12.xml" ContentType="application/vnd.openxmlformats-officedocument.presentationml.notesSlide+xml"/>
  <Override PartName="/ppt/tags/tag15.xml" ContentType="application/vnd.openxmlformats-officedocument.presentationml.tags+xml"/>
  <Override PartName="/ppt/notesSlides/notesSlide13.xml" ContentType="application/vnd.openxmlformats-officedocument.presentationml.notesSlide+xml"/>
  <Override PartName="/ppt/tags/tag16.xml" ContentType="application/vnd.openxmlformats-officedocument.presentationml.tags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tags/tag17.xml" ContentType="application/vnd.openxmlformats-officedocument.presentationml.tags+xml"/>
  <Override PartName="/ppt/notesSlides/notesSlide16.xml" ContentType="application/vnd.openxmlformats-officedocument.presentationml.notesSlide+xml"/>
  <Override PartName="/ppt/tags/tag18.xml" ContentType="application/vnd.openxmlformats-officedocument.presentationml.tags+xml"/>
  <Override PartName="/ppt/notesSlides/notesSlide17.xml" ContentType="application/vnd.openxmlformats-officedocument.presentationml.notesSlide+xml"/>
  <Override PartName="/ppt/tags/tag19.xml" ContentType="application/vnd.openxmlformats-officedocument.presentationml.tags+xml"/>
  <Override PartName="/ppt/notesSlides/notesSlide18.xml" ContentType="application/vnd.openxmlformats-officedocument.presentationml.notesSlide+xml"/>
  <Override PartName="/ppt/tags/tag20.xml" ContentType="application/vnd.openxmlformats-officedocument.presentationml.tags+xml"/>
  <Override PartName="/ppt/notesSlides/notesSlide19.xml" ContentType="application/vnd.openxmlformats-officedocument.presentationml.notesSlide+xml"/>
  <Override PartName="/ppt/tags/tag21.xml" ContentType="application/vnd.openxmlformats-officedocument.presentationml.tags+xml"/>
  <Override PartName="/ppt/notesSlides/notesSlide2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82" r:id="rId2"/>
    <p:sldMasterId id="2147483703" r:id="rId3"/>
    <p:sldMasterId id="2147483708" r:id="rId4"/>
    <p:sldMasterId id="2147483713" r:id="rId5"/>
    <p:sldMasterId id="2147483718" r:id="rId6"/>
    <p:sldMasterId id="2147483723" r:id="rId7"/>
    <p:sldMasterId id="2147483728" r:id="rId8"/>
  </p:sldMasterIdLst>
  <p:notesMasterIdLst>
    <p:notesMasterId r:id="rId44"/>
  </p:notesMasterIdLst>
  <p:sldIdLst>
    <p:sldId id="3343" r:id="rId9"/>
    <p:sldId id="2147375036" r:id="rId10"/>
    <p:sldId id="2147375034" r:id="rId11"/>
    <p:sldId id="2147375028" r:id="rId12"/>
    <p:sldId id="2147375033" r:id="rId13"/>
    <p:sldId id="2147375032" r:id="rId14"/>
    <p:sldId id="2147375037" r:id="rId15"/>
    <p:sldId id="2147375038" r:id="rId16"/>
    <p:sldId id="2147375035" r:id="rId17"/>
    <p:sldId id="2147375030" r:id="rId18"/>
    <p:sldId id="2147375029" r:id="rId19"/>
    <p:sldId id="3346" r:id="rId20"/>
    <p:sldId id="2145705568" r:id="rId21"/>
    <p:sldId id="2145705566" r:id="rId22"/>
    <p:sldId id="2147375019" r:id="rId23"/>
    <p:sldId id="2147375017" r:id="rId24"/>
    <p:sldId id="2145705874" r:id="rId25"/>
    <p:sldId id="2145705878" r:id="rId26"/>
    <p:sldId id="2145705879" r:id="rId27"/>
    <p:sldId id="2145705900" r:id="rId28"/>
    <p:sldId id="2147375020" r:id="rId29"/>
    <p:sldId id="2145705872" r:id="rId30"/>
    <p:sldId id="2145705907" r:id="rId31"/>
    <p:sldId id="2147375014" r:id="rId32"/>
    <p:sldId id="2145705889" r:id="rId33"/>
    <p:sldId id="2147375021" r:id="rId34"/>
    <p:sldId id="2147375027" r:id="rId35"/>
    <p:sldId id="2147375000" r:id="rId36"/>
    <p:sldId id="2147375004" r:id="rId37"/>
    <p:sldId id="2147375005" r:id="rId38"/>
    <p:sldId id="2147375006" r:id="rId39"/>
    <p:sldId id="2147375007" r:id="rId40"/>
    <p:sldId id="2147375025" r:id="rId41"/>
    <p:sldId id="2147375031" r:id="rId42"/>
    <p:sldId id="2147375026" r:id="rId43"/>
  </p:sldIdLst>
  <p:sldSz cx="12192000" cy="6858000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James Harvey" initials="JH" lastIdx="1" clrIdx="0">
    <p:extLst>
      <p:ext uri="{19B8F6BF-5375-455C-9EA6-DF929625EA0E}">
        <p15:presenceInfo xmlns:p15="http://schemas.microsoft.com/office/powerpoint/2012/main" userId="S::james.harvey@biogen.com::68a43cb0-f35d-4fa8-9cb6-3d55224d9d12" providerId="AD"/>
      </p:ext>
    </p:extLst>
  </p:cmAuthor>
  <p:cmAuthor id="2" name="Jessica Hurt" initials="JH" lastIdx="9" clrIdx="1"/>
  <p:cmAuthor id="3" name="Joon Lee" initials="JL" lastIdx="3" clrIdx="2">
    <p:extLst>
      <p:ext uri="{19B8F6BF-5375-455C-9EA6-DF929625EA0E}">
        <p15:presenceInfo xmlns:p15="http://schemas.microsoft.com/office/powerpoint/2012/main" userId="S::joon.lee@biogen.com::7e5fc75c-1f8e-45c2-9a04-b1b0fcc5e4eb" providerId="AD"/>
      </p:ext>
    </p:extLst>
  </p:cmAuthor>
  <p:cmAuthor id="4" name="Catherine Nezich" initials="CN" lastIdx="1" clrIdx="3">
    <p:extLst>
      <p:ext uri="{19B8F6BF-5375-455C-9EA6-DF929625EA0E}">
        <p15:presenceInfo xmlns:p15="http://schemas.microsoft.com/office/powerpoint/2012/main" userId="S::catherine.nezich@biogen.com::65923c0c-432e-4ae4-9bdf-aa1bccb570b9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432FF"/>
    <a:srgbClr val="002E3F"/>
    <a:srgbClr val="E8ECF4"/>
    <a:srgbClr val="CCD6E7"/>
    <a:srgbClr val="2573BA"/>
    <a:srgbClr val="B3E8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5217"/>
    <p:restoredTop sz="94856"/>
  </p:normalViewPr>
  <p:slideViewPr>
    <p:cSldViewPr snapToGrid="0">
      <p:cViewPr varScale="1">
        <p:scale>
          <a:sx n="132" d="100"/>
          <a:sy n="132" d="100"/>
        </p:scale>
        <p:origin x="1040" y="17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" d="1"/>
        <a:sy n="1" d="1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5.xml"/><Relationship Id="rId18" Type="http://schemas.openxmlformats.org/officeDocument/2006/relationships/slide" Target="slides/slide10.xml"/><Relationship Id="rId26" Type="http://schemas.openxmlformats.org/officeDocument/2006/relationships/slide" Target="slides/slide18.xml"/><Relationship Id="rId39" Type="http://schemas.openxmlformats.org/officeDocument/2006/relationships/slide" Target="slides/slide31.xml"/><Relationship Id="rId21" Type="http://schemas.openxmlformats.org/officeDocument/2006/relationships/slide" Target="slides/slide13.xml"/><Relationship Id="rId34" Type="http://schemas.openxmlformats.org/officeDocument/2006/relationships/slide" Target="slides/slide26.xml"/><Relationship Id="rId42" Type="http://schemas.openxmlformats.org/officeDocument/2006/relationships/slide" Target="slides/slide34.xml"/><Relationship Id="rId47" Type="http://schemas.openxmlformats.org/officeDocument/2006/relationships/viewProps" Target="viewProps.xml"/><Relationship Id="rId7" Type="http://schemas.openxmlformats.org/officeDocument/2006/relationships/slideMaster" Target="slideMasters/slideMaster7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8.xml"/><Relationship Id="rId29" Type="http://schemas.openxmlformats.org/officeDocument/2006/relationships/slide" Target="slides/slide21.xml"/><Relationship Id="rId11" Type="http://schemas.openxmlformats.org/officeDocument/2006/relationships/slide" Target="slides/slide3.xml"/><Relationship Id="rId24" Type="http://schemas.openxmlformats.org/officeDocument/2006/relationships/slide" Target="slides/slide16.xml"/><Relationship Id="rId32" Type="http://schemas.openxmlformats.org/officeDocument/2006/relationships/slide" Target="slides/slide24.xml"/><Relationship Id="rId37" Type="http://schemas.openxmlformats.org/officeDocument/2006/relationships/slide" Target="slides/slide29.xml"/><Relationship Id="rId40" Type="http://schemas.openxmlformats.org/officeDocument/2006/relationships/slide" Target="slides/slide32.xml"/><Relationship Id="rId45" Type="http://schemas.openxmlformats.org/officeDocument/2006/relationships/commentAuthors" Target="commentAuthors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7.xml"/><Relationship Id="rId23" Type="http://schemas.openxmlformats.org/officeDocument/2006/relationships/slide" Target="slides/slide15.xml"/><Relationship Id="rId28" Type="http://schemas.openxmlformats.org/officeDocument/2006/relationships/slide" Target="slides/slide20.xml"/><Relationship Id="rId36" Type="http://schemas.openxmlformats.org/officeDocument/2006/relationships/slide" Target="slides/slide28.xml"/><Relationship Id="rId49" Type="http://schemas.openxmlformats.org/officeDocument/2006/relationships/tableStyles" Target="tableStyles.xml"/><Relationship Id="rId10" Type="http://schemas.openxmlformats.org/officeDocument/2006/relationships/slide" Target="slides/slide2.xml"/><Relationship Id="rId19" Type="http://schemas.openxmlformats.org/officeDocument/2006/relationships/slide" Target="slides/slide11.xml"/><Relationship Id="rId31" Type="http://schemas.openxmlformats.org/officeDocument/2006/relationships/slide" Target="slides/slide23.xml"/><Relationship Id="rId44" Type="http://schemas.openxmlformats.org/officeDocument/2006/relationships/notesMaster" Target="notesMasters/notesMaster1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1.xml"/><Relationship Id="rId14" Type="http://schemas.openxmlformats.org/officeDocument/2006/relationships/slide" Target="slides/slide6.xml"/><Relationship Id="rId22" Type="http://schemas.openxmlformats.org/officeDocument/2006/relationships/slide" Target="slides/slide14.xml"/><Relationship Id="rId27" Type="http://schemas.openxmlformats.org/officeDocument/2006/relationships/slide" Target="slides/slide19.xml"/><Relationship Id="rId30" Type="http://schemas.openxmlformats.org/officeDocument/2006/relationships/slide" Target="slides/slide22.xml"/><Relationship Id="rId35" Type="http://schemas.openxmlformats.org/officeDocument/2006/relationships/slide" Target="slides/slide27.xml"/><Relationship Id="rId43" Type="http://schemas.openxmlformats.org/officeDocument/2006/relationships/slide" Target="slides/slide35.xml"/><Relationship Id="rId48" Type="http://schemas.openxmlformats.org/officeDocument/2006/relationships/theme" Target="theme/theme1.xml"/><Relationship Id="rId8" Type="http://schemas.openxmlformats.org/officeDocument/2006/relationships/slideMaster" Target="slideMasters/slideMaster8.xml"/><Relationship Id="rId3" Type="http://schemas.openxmlformats.org/officeDocument/2006/relationships/slideMaster" Target="slideMasters/slideMaster3.xml"/><Relationship Id="rId12" Type="http://schemas.openxmlformats.org/officeDocument/2006/relationships/slide" Target="slides/slide4.xml"/><Relationship Id="rId17" Type="http://schemas.openxmlformats.org/officeDocument/2006/relationships/slide" Target="slides/slide9.xml"/><Relationship Id="rId25" Type="http://schemas.openxmlformats.org/officeDocument/2006/relationships/slide" Target="slides/slide17.xml"/><Relationship Id="rId33" Type="http://schemas.openxmlformats.org/officeDocument/2006/relationships/slide" Target="slides/slide25.xml"/><Relationship Id="rId38" Type="http://schemas.openxmlformats.org/officeDocument/2006/relationships/slide" Target="slides/slide30.xml"/><Relationship Id="rId46" Type="http://schemas.openxmlformats.org/officeDocument/2006/relationships/presProps" Target="presProps.xml"/><Relationship Id="rId20" Type="http://schemas.openxmlformats.org/officeDocument/2006/relationships/slide" Target="slides/slide12.xml"/><Relationship Id="rId41" Type="http://schemas.openxmlformats.org/officeDocument/2006/relationships/slide" Target="slides/slide33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9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2694C50-2C83-4B4D-A7B8-94AB37EE4450}" type="datetimeFigureOut">
              <a:rPr lang="en-US" smtClean="0"/>
              <a:t>3/13/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A558DA1-CAF4-4F9B-98DF-FEB1FCF3422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9517392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1A920DB-DA39-B948-8A10-FF782037E64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33756724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1A920DB-DA39-B948-8A10-FF782037E64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58577392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1A920DB-DA39-B948-8A10-FF782037E64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512230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1A920DB-DA39-B948-8A10-FF782037E64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09843155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1A920DB-DA39-B948-8A10-FF782037E64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89220303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1A920DB-DA39-B948-8A10-FF782037E64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02346436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A558DA1-CAF4-4F9B-98DF-FEB1FCF3422D}" type="slidenum">
              <a:rPr lang="en-US" smtClean="0"/>
              <a:t>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54475896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1A920DB-DA39-B948-8A10-FF782037E64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46153368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1A920DB-DA39-B948-8A10-FF782037E64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7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0698864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1A920DB-DA39-B948-8A10-FF782037E64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66993584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1A920DB-DA39-B948-8A10-FF782037E64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363691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1A920DB-DA39-B948-8A10-FF782037E64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59680748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1A920DB-DA39-B948-8A10-FF782037E64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7295719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1A920DB-DA39-B948-8A10-FF782037E64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5219823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1A920DB-DA39-B948-8A10-FF782037E64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4420353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1A920DB-DA39-B948-8A10-FF782037E64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749460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1A920DB-DA39-B948-8A10-FF782037E64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6879771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1A920DB-DA39-B948-8A10-FF782037E64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3098304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1A920DB-DA39-B948-8A10-FF782037E64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352231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1A920DB-DA39-B948-8A10-FF782037E64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5486402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jpeg"/><Relationship Id="rId3" Type="http://schemas.openxmlformats.org/officeDocument/2006/relationships/image" Target="../media/image10.jpeg"/><Relationship Id="rId7" Type="http://schemas.openxmlformats.org/officeDocument/2006/relationships/image" Target="../media/image13.jpe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2.jpeg"/><Relationship Id="rId5" Type="http://schemas.openxmlformats.org/officeDocument/2006/relationships/image" Target="../media/image5.jpeg"/><Relationship Id="rId4" Type="http://schemas.openxmlformats.org/officeDocument/2006/relationships/image" Target="../media/image11.jpeg"/><Relationship Id="rId9" Type="http://schemas.openxmlformats.org/officeDocument/2006/relationships/image" Target="../media/image7.jpeg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eg"/><Relationship Id="rId7" Type="http://schemas.openxmlformats.org/officeDocument/2006/relationships/image" Target="../media/image19.jpe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8.png"/><Relationship Id="rId5" Type="http://schemas.openxmlformats.org/officeDocument/2006/relationships/image" Target="../media/image5.jpeg"/><Relationship Id="rId4" Type="http://schemas.openxmlformats.org/officeDocument/2006/relationships/image" Target="../media/image17.jpe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jpeg"/><Relationship Id="rId2" Type="http://schemas.openxmlformats.org/officeDocument/2006/relationships/image" Target="../media/image20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2.jpeg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jpeg"/><Relationship Id="rId3" Type="http://schemas.openxmlformats.org/officeDocument/2006/relationships/image" Target="../media/image10.jpeg"/><Relationship Id="rId7" Type="http://schemas.openxmlformats.org/officeDocument/2006/relationships/image" Target="../media/image13.jpe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12.jpeg"/><Relationship Id="rId5" Type="http://schemas.openxmlformats.org/officeDocument/2006/relationships/image" Target="../media/image5.jpeg"/><Relationship Id="rId4" Type="http://schemas.openxmlformats.org/officeDocument/2006/relationships/image" Target="../media/image11.jpeg"/><Relationship Id="rId9" Type="http://schemas.openxmlformats.org/officeDocument/2006/relationships/image" Target="../media/image7.jpeg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eg"/><Relationship Id="rId7" Type="http://schemas.openxmlformats.org/officeDocument/2006/relationships/image" Target="../media/image19.jpe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18.png"/><Relationship Id="rId5" Type="http://schemas.openxmlformats.org/officeDocument/2006/relationships/image" Target="../media/image5.jpeg"/><Relationship Id="rId4" Type="http://schemas.openxmlformats.org/officeDocument/2006/relationships/image" Target="../media/image17.jpeg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jpeg"/><Relationship Id="rId2" Type="http://schemas.openxmlformats.org/officeDocument/2006/relationships/image" Target="../media/image20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22.jpeg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jpeg"/><Relationship Id="rId7" Type="http://schemas.openxmlformats.org/officeDocument/2006/relationships/image" Target="../media/image29.jpeg"/><Relationship Id="rId2" Type="http://schemas.openxmlformats.org/officeDocument/2006/relationships/image" Target="../media/image24.jpe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28.jpeg"/><Relationship Id="rId5" Type="http://schemas.openxmlformats.org/officeDocument/2006/relationships/image" Target="../media/image27.jpeg"/><Relationship Id="rId4" Type="http://schemas.openxmlformats.org/officeDocument/2006/relationships/image" Target="../media/image26.jpeg"/></Relationships>
</file>

<file path=ppt/slideLayouts/_rels/slideLayout4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image" Target="../media/image31.jpeg"/><Relationship Id="rId7" Type="http://schemas.openxmlformats.org/officeDocument/2006/relationships/image" Target="../media/image35.jpeg"/><Relationship Id="rId2" Type="http://schemas.openxmlformats.org/officeDocument/2006/relationships/image" Target="../media/image30.jpe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34.jpeg"/><Relationship Id="rId5" Type="http://schemas.openxmlformats.org/officeDocument/2006/relationships/image" Target="../media/image33.jpeg"/><Relationship Id="rId4" Type="http://schemas.openxmlformats.org/officeDocument/2006/relationships/image" Target="../media/image32.jpeg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36.jpe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3.png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38.jpe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3.png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7" Type="http://schemas.openxmlformats.org/officeDocument/2006/relationships/image" Target="../media/image41.png"/><Relationship Id="rId2" Type="http://schemas.openxmlformats.org/officeDocument/2006/relationships/image" Target="../media/image40.jpe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3.png"/><Relationship Id="rId5" Type="http://schemas.microsoft.com/office/2007/relationships/hdphoto" Target="../media/hdphoto1.wdp"/><Relationship Id="rId4" Type="http://schemas.openxmlformats.org/officeDocument/2006/relationships/image" Target="../media/image2.png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7" Type="http://schemas.openxmlformats.org/officeDocument/2006/relationships/image" Target="../media/image3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4.xml"/><Relationship Id="rId6" Type="http://schemas.microsoft.com/office/2007/relationships/hdphoto" Target="../media/hdphoto3.wdp"/><Relationship Id="rId5" Type="http://schemas.openxmlformats.org/officeDocument/2006/relationships/image" Target="../media/image2.png"/><Relationship Id="rId4" Type="http://schemas.openxmlformats.org/officeDocument/2006/relationships/image" Target="../media/image42.jpeg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3.png"/><Relationship Id="rId5" Type="http://schemas.microsoft.com/office/2007/relationships/hdphoto" Target="../media/hdphoto4.wdp"/><Relationship Id="rId4" Type="http://schemas.openxmlformats.org/officeDocument/2006/relationships/image" Target="../media/image2.png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jpeg"/><Relationship Id="rId7" Type="http://schemas.openxmlformats.org/officeDocument/2006/relationships/image" Target="../media/image3.png"/><Relationship Id="rId2" Type="http://schemas.openxmlformats.org/officeDocument/2006/relationships/image" Target="../media/image40.jpeg"/><Relationship Id="rId1" Type="http://schemas.openxmlformats.org/officeDocument/2006/relationships/slideMaster" Target="../slideMasters/slideMaster4.xml"/><Relationship Id="rId6" Type="http://schemas.microsoft.com/office/2007/relationships/hdphoto" Target="../media/hdphoto5.wdp"/><Relationship Id="rId5" Type="http://schemas.openxmlformats.org/officeDocument/2006/relationships/image" Target="../media/image2.png"/><Relationship Id="rId4" Type="http://schemas.openxmlformats.org/officeDocument/2006/relationships/image" Target="../media/image37.png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jpeg"/><Relationship Id="rId7" Type="http://schemas.openxmlformats.org/officeDocument/2006/relationships/image" Target="../media/image41.png"/><Relationship Id="rId2" Type="http://schemas.openxmlformats.org/officeDocument/2006/relationships/image" Target="../media/image45.jpeg"/><Relationship Id="rId1" Type="http://schemas.openxmlformats.org/officeDocument/2006/relationships/slideMaster" Target="../slideMasters/slideMaster5.xml"/><Relationship Id="rId6" Type="http://schemas.openxmlformats.org/officeDocument/2006/relationships/image" Target="../media/image3.png"/><Relationship Id="rId5" Type="http://schemas.microsoft.com/office/2007/relationships/hdphoto" Target="../media/hdphoto7.wdp"/><Relationship Id="rId4" Type="http://schemas.openxmlformats.org/officeDocument/2006/relationships/image" Target="../media/image2.png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7" Type="http://schemas.openxmlformats.org/officeDocument/2006/relationships/image" Target="../media/image3.png"/><Relationship Id="rId2" Type="http://schemas.openxmlformats.org/officeDocument/2006/relationships/image" Target="../media/image47.jpeg"/><Relationship Id="rId1" Type="http://schemas.openxmlformats.org/officeDocument/2006/relationships/slideMaster" Target="../slideMasters/slideMaster5.xml"/><Relationship Id="rId6" Type="http://schemas.microsoft.com/office/2007/relationships/hdphoto" Target="../media/hdphoto8.wdp"/><Relationship Id="rId5" Type="http://schemas.openxmlformats.org/officeDocument/2006/relationships/image" Target="../media/image2.png"/><Relationship Id="rId4" Type="http://schemas.openxmlformats.org/officeDocument/2006/relationships/image" Target="../media/image48.jpeg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5.xml"/><Relationship Id="rId6" Type="http://schemas.openxmlformats.org/officeDocument/2006/relationships/image" Target="../media/image3.png"/><Relationship Id="rId5" Type="http://schemas.microsoft.com/office/2007/relationships/hdphoto" Target="../media/hdphoto9.wdp"/><Relationship Id="rId4" Type="http://schemas.openxmlformats.org/officeDocument/2006/relationships/image" Target="../media/image2.png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jpeg"/><Relationship Id="rId7" Type="http://schemas.openxmlformats.org/officeDocument/2006/relationships/image" Target="../media/image3.png"/><Relationship Id="rId2" Type="http://schemas.openxmlformats.org/officeDocument/2006/relationships/image" Target="../media/image49.jpeg"/><Relationship Id="rId1" Type="http://schemas.openxmlformats.org/officeDocument/2006/relationships/slideMaster" Target="../slideMasters/slideMaster5.xml"/><Relationship Id="rId6" Type="http://schemas.microsoft.com/office/2007/relationships/hdphoto" Target="../media/hdphoto1.wdp"/><Relationship Id="rId5" Type="http://schemas.openxmlformats.org/officeDocument/2006/relationships/image" Target="../media/image2.png"/><Relationship Id="rId4" Type="http://schemas.openxmlformats.org/officeDocument/2006/relationships/image" Target="../media/image37.png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jpeg"/><Relationship Id="rId7" Type="http://schemas.openxmlformats.org/officeDocument/2006/relationships/image" Target="../media/image41.png"/><Relationship Id="rId2" Type="http://schemas.openxmlformats.org/officeDocument/2006/relationships/image" Target="../media/image52.jpeg"/><Relationship Id="rId1" Type="http://schemas.openxmlformats.org/officeDocument/2006/relationships/slideMaster" Target="../slideMasters/slideMaster6.xml"/><Relationship Id="rId6" Type="http://schemas.openxmlformats.org/officeDocument/2006/relationships/image" Target="../media/image3.png"/><Relationship Id="rId5" Type="http://schemas.microsoft.com/office/2007/relationships/hdphoto" Target="../media/hdphoto1.wdp"/><Relationship Id="rId4" Type="http://schemas.openxmlformats.org/officeDocument/2006/relationships/image" Target="../media/image2.png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jpeg"/><Relationship Id="rId7" Type="http://schemas.openxmlformats.org/officeDocument/2006/relationships/image" Target="../media/image3.png"/><Relationship Id="rId2" Type="http://schemas.openxmlformats.org/officeDocument/2006/relationships/image" Target="../media/image54.jpeg"/><Relationship Id="rId1" Type="http://schemas.openxmlformats.org/officeDocument/2006/relationships/slideMaster" Target="../slideMasters/slideMaster6.xml"/><Relationship Id="rId6" Type="http://schemas.microsoft.com/office/2007/relationships/hdphoto" Target="../media/hdphoto11.wdp"/><Relationship Id="rId5" Type="http://schemas.openxmlformats.org/officeDocument/2006/relationships/image" Target="../media/image2.png"/><Relationship Id="rId4" Type="http://schemas.openxmlformats.org/officeDocument/2006/relationships/image" Target="../media/image37.png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6.xml"/><Relationship Id="rId6" Type="http://schemas.openxmlformats.org/officeDocument/2006/relationships/image" Target="../media/image3.png"/><Relationship Id="rId5" Type="http://schemas.microsoft.com/office/2007/relationships/hdphoto" Target="../media/hdphoto12.wdp"/><Relationship Id="rId4" Type="http://schemas.openxmlformats.org/officeDocument/2006/relationships/image" Target="../media/image2.png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jpeg"/><Relationship Id="rId7" Type="http://schemas.openxmlformats.org/officeDocument/2006/relationships/image" Target="../media/image3.png"/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6.xml"/><Relationship Id="rId6" Type="http://schemas.microsoft.com/office/2007/relationships/hdphoto" Target="../media/hdphoto13.wdp"/><Relationship Id="rId5" Type="http://schemas.openxmlformats.org/officeDocument/2006/relationships/image" Target="../media/image2.png"/><Relationship Id="rId4" Type="http://schemas.openxmlformats.org/officeDocument/2006/relationships/image" Target="../media/image37.png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jpeg"/><Relationship Id="rId7" Type="http://schemas.openxmlformats.org/officeDocument/2006/relationships/image" Target="../media/image41.png"/><Relationship Id="rId2" Type="http://schemas.openxmlformats.org/officeDocument/2006/relationships/image" Target="../media/image58.jpeg"/><Relationship Id="rId1" Type="http://schemas.openxmlformats.org/officeDocument/2006/relationships/slideMaster" Target="../slideMasters/slideMaster7.xml"/><Relationship Id="rId6" Type="http://schemas.openxmlformats.org/officeDocument/2006/relationships/image" Target="../media/image3.png"/><Relationship Id="rId5" Type="http://schemas.microsoft.com/office/2007/relationships/hdphoto" Target="../media/hdphoto10.wdp"/><Relationship Id="rId4" Type="http://schemas.openxmlformats.org/officeDocument/2006/relationships/image" Target="../media/image2.png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7" Type="http://schemas.openxmlformats.org/officeDocument/2006/relationships/image" Target="../media/image3.png"/><Relationship Id="rId2" Type="http://schemas.openxmlformats.org/officeDocument/2006/relationships/image" Target="../media/image60.jpeg"/><Relationship Id="rId1" Type="http://schemas.openxmlformats.org/officeDocument/2006/relationships/slideMaster" Target="../slideMasters/slideMaster7.xml"/><Relationship Id="rId6" Type="http://schemas.microsoft.com/office/2007/relationships/hdphoto" Target="../media/hdphoto15.wdp"/><Relationship Id="rId5" Type="http://schemas.openxmlformats.org/officeDocument/2006/relationships/image" Target="../media/image2.png"/><Relationship Id="rId4" Type="http://schemas.openxmlformats.org/officeDocument/2006/relationships/image" Target="../media/image61.jpeg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62.jpeg"/><Relationship Id="rId1" Type="http://schemas.openxmlformats.org/officeDocument/2006/relationships/slideMaster" Target="../slideMasters/slideMaster7.xml"/><Relationship Id="rId6" Type="http://schemas.openxmlformats.org/officeDocument/2006/relationships/image" Target="../media/image3.png"/><Relationship Id="rId5" Type="http://schemas.microsoft.com/office/2007/relationships/hdphoto" Target="../media/hdphoto16.wdp"/><Relationship Id="rId4" Type="http://schemas.openxmlformats.org/officeDocument/2006/relationships/image" Target="../media/image2.png"/></Relationships>
</file>

<file path=ppt/slideLayouts/_rels/slideLayout6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image" Target="../media/image64.png"/><Relationship Id="rId7" Type="http://schemas.microsoft.com/office/2007/relationships/hdphoto" Target="../media/hdphoto1.wdp"/><Relationship Id="rId2" Type="http://schemas.openxmlformats.org/officeDocument/2006/relationships/image" Target="../media/image63.jpeg"/><Relationship Id="rId1" Type="http://schemas.openxmlformats.org/officeDocument/2006/relationships/slideMaster" Target="../slideMasters/slideMaster7.xml"/><Relationship Id="rId6" Type="http://schemas.openxmlformats.org/officeDocument/2006/relationships/image" Target="../media/image2.png"/><Relationship Id="rId5" Type="http://schemas.openxmlformats.org/officeDocument/2006/relationships/image" Target="../media/image37.png"/><Relationship Id="rId4" Type="http://schemas.microsoft.com/office/2007/relationships/hdphoto" Target="../media/hdphoto17.wdp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7.jpeg"/><Relationship Id="rId7" Type="http://schemas.openxmlformats.org/officeDocument/2006/relationships/image" Target="../media/image41.png"/><Relationship Id="rId2" Type="http://schemas.openxmlformats.org/officeDocument/2006/relationships/image" Target="../media/image66.jpeg"/><Relationship Id="rId1" Type="http://schemas.openxmlformats.org/officeDocument/2006/relationships/slideMaster" Target="../slideMasters/slideMaster8.xml"/><Relationship Id="rId6" Type="http://schemas.openxmlformats.org/officeDocument/2006/relationships/image" Target="../media/image3.png"/><Relationship Id="rId5" Type="http://schemas.microsoft.com/office/2007/relationships/hdphoto" Target="../media/hdphoto19.wdp"/><Relationship Id="rId4" Type="http://schemas.openxmlformats.org/officeDocument/2006/relationships/image" Target="../media/image2.png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9.jpeg"/><Relationship Id="rId7" Type="http://schemas.openxmlformats.org/officeDocument/2006/relationships/image" Target="../media/image3.png"/><Relationship Id="rId2" Type="http://schemas.openxmlformats.org/officeDocument/2006/relationships/image" Target="../media/image68.jpeg"/><Relationship Id="rId1" Type="http://schemas.openxmlformats.org/officeDocument/2006/relationships/slideMaster" Target="../slideMasters/slideMaster8.xml"/><Relationship Id="rId6" Type="http://schemas.microsoft.com/office/2007/relationships/hdphoto" Target="../media/hdphoto20.wdp"/><Relationship Id="rId5" Type="http://schemas.openxmlformats.org/officeDocument/2006/relationships/image" Target="../media/image2.png"/><Relationship Id="rId4" Type="http://schemas.openxmlformats.org/officeDocument/2006/relationships/image" Target="../media/image37.png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70.jpeg"/><Relationship Id="rId1" Type="http://schemas.openxmlformats.org/officeDocument/2006/relationships/slideMaster" Target="../slideMasters/slideMaster8.xml"/><Relationship Id="rId6" Type="http://schemas.openxmlformats.org/officeDocument/2006/relationships/image" Target="../media/image3.png"/><Relationship Id="rId5" Type="http://schemas.microsoft.com/office/2007/relationships/hdphoto" Target="../media/hdphoto21.wdp"/><Relationship Id="rId4" Type="http://schemas.openxmlformats.org/officeDocument/2006/relationships/image" Target="../media/image2.png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2.jpeg"/><Relationship Id="rId7" Type="http://schemas.openxmlformats.org/officeDocument/2006/relationships/image" Target="../media/image3.png"/><Relationship Id="rId2" Type="http://schemas.openxmlformats.org/officeDocument/2006/relationships/image" Target="../media/image71.jpeg"/><Relationship Id="rId1" Type="http://schemas.openxmlformats.org/officeDocument/2006/relationships/slideMaster" Target="../slideMasters/slideMaster8.xml"/><Relationship Id="rId6" Type="http://schemas.microsoft.com/office/2007/relationships/hdphoto" Target="../media/hdphoto22.wdp"/><Relationship Id="rId5" Type="http://schemas.openxmlformats.org/officeDocument/2006/relationships/image" Target="../media/image2.png"/><Relationship Id="rId4" Type="http://schemas.openxmlformats.org/officeDocument/2006/relationships/image" Target="../media/image37.png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4FB72A38-F9A5-CD4B-B593-00755101EE1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bg1"/>
                </a:solidFill>
              </a:defRPr>
            </a:lvl1pPr>
          </a:lstStyle>
          <a:p>
            <a:fld id="{F531C153-56E2-4D58-BF8C-84423A751AD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00088827"/>
      </p:ext>
    </p:extLst>
  </p:cSld>
  <p:clrMapOvr>
    <a:masterClrMapping/>
  </p:clrMapOvr>
  <p:transition>
    <p:fad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 WITH PHOTO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9B3B66E5-D4B9-D746-85E7-0817EB68C9F0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8139033" y="-926"/>
            <a:ext cx="4052491" cy="6265900"/>
          </a:xfrm>
          <a:prstGeom prst="rect">
            <a:avLst/>
          </a:prstGeom>
        </p:spPr>
      </p:pic>
      <p:pic>
        <p:nvPicPr>
          <p:cNvPr id="10" name="Picture Placeholder 18">
            <a:extLst>
              <a:ext uri="{FF2B5EF4-FFF2-40B4-BE49-F238E27FC236}">
                <a16:creationId xmlns:a16="http://schemas.microsoft.com/office/drawing/2014/main" id="{AE594129-E530-F54E-9822-E2641DC68725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9799177" y="789"/>
            <a:ext cx="2392824" cy="6262468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4CBFDDF4-0565-424E-AFE7-6000EF98D79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3397" y="204645"/>
            <a:ext cx="7547628" cy="684355"/>
          </a:xfrm>
        </p:spPr>
        <p:txBody>
          <a:bodyPr anchor="t"/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EE0AA4A-BDF6-5B4A-84AE-EDC943B6DD6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83395" y="889001"/>
            <a:ext cx="7547628" cy="45296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defRPr lang="en-US" sz="2400" b="0" i="0" kern="1200" dirty="0">
                <a:solidFill>
                  <a:schemeClr val="accent2"/>
                </a:solidFill>
                <a:latin typeface="+mj-lt"/>
                <a:ea typeface="Helvetica Neue Thin" panose="020B0403020202020204" pitchFamily="34" charset="0"/>
                <a:cs typeface="+mn-cs"/>
              </a:defRPr>
            </a:lvl1pPr>
          </a:lstStyle>
          <a:p>
            <a:pPr marL="160863" lvl="0" indent="-160863" algn="l" defTabSz="609585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None/>
            </a:pPr>
            <a:r>
              <a:rPr lang="en-US"/>
              <a:t>Click to add subtitl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0C88D5C2-25B4-C947-B4BE-01EFB89FF132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383395" y="1556130"/>
            <a:ext cx="3670048" cy="4319737"/>
          </a:xfrm>
          <a:prstGeom prst="rect">
            <a:avLst/>
          </a:prstGeom>
        </p:spPr>
        <p:txBody>
          <a:bodyPr/>
          <a:lstStyle>
            <a:lvl1pPr>
              <a:buClr>
                <a:schemeClr val="accent2"/>
              </a:buClr>
              <a:defRPr b="1">
                <a:solidFill>
                  <a:schemeClr val="accent1"/>
                </a:solidFill>
              </a:defRPr>
            </a:lvl1pPr>
            <a:lvl2pPr>
              <a:buClr>
                <a:schemeClr val="accent2"/>
              </a:buClr>
              <a:defRPr>
                <a:solidFill>
                  <a:schemeClr val="tx1"/>
                </a:solidFill>
              </a:defRPr>
            </a:lvl2pPr>
            <a:lvl3pPr>
              <a:buClr>
                <a:schemeClr val="accent2"/>
              </a:buClr>
              <a:defRPr>
                <a:solidFill>
                  <a:schemeClr val="tx1"/>
                </a:solidFill>
              </a:defRPr>
            </a:lvl3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 bullet</a:t>
            </a:r>
          </a:p>
          <a:p>
            <a:pPr lvl="2"/>
            <a:r>
              <a:rPr lang="en-US"/>
              <a:t>Third level bullet</a:t>
            </a:r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C0F55473-9E48-E149-A5F9-16BF6F270348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4260976" y="1556130"/>
            <a:ext cx="3670048" cy="4319737"/>
          </a:xfrm>
          <a:prstGeom prst="rect">
            <a:avLst/>
          </a:prstGeom>
        </p:spPr>
        <p:txBody>
          <a:bodyPr/>
          <a:lstStyle>
            <a:lvl1pPr>
              <a:buClr>
                <a:schemeClr val="accent2"/>
              </a:buClr>
              <a:defRPr b="1">
                <a:solidFill>
                  <a:schemeClr val="accent1"/>
                </a:solidFill>
              </a:defRPr>
            </a:lvl1pPr>
            <a:lvl2pPr>
              <a:buClr>
                <a:schemeClr val="accent2"/>
              </a:buClr>
              <a:defRPr>
                <a:solidFill>
                  <a:schemeClr val="tx1"/>
                </a:solidFill>
              </a:defRPr>
            </a:lvl2pPr>
            <a:lvl3pPr>
              <a:buClr>
                <a:schemeClr val="accent2"/>
              </a:buClr>
              <a:defRPr>
                <a:solidFill>
                  <a:schemeClr val="tx1"/>
                </a:solidFill>
              </a:defRPr>
            </a:lvl3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 bullet</a:t>
            </a:r>
          </a:p>
          <a:p>
            <a:pPr lvl="2"/>
            <a:r>
              <a:rPr lang="en-US"/>
              <a:t>Third level bullet</a:t>
            </a:r>
          </a:p>
        </p:txBody>
      </p:sp>
      <p:sp>
        <p:nvSpPr>
          <p:cNvPr id="9" name="Slide Number Placeholder 2">
            <a:extLst>
              <a:ext uri="{FF2B5EF4-FFF2-40B4-BE49-F238E27FC236}">
                <a16:creationId xmlns:a16="http://schemas.microsoft.com/office/drawing/2014/main" id="{37638021-80B5-D04D-B67E-AE9E2897577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bg1"/>
                </a:solidFill>
              </a:defRPr>
            </a:lvl1pPr>
          </a:lstStyle>
          <a:p>
            <a:fld id="{F531C153-56E2-4D58-BF8C-84423A751AD4}" type="slidenum">
              <a:rPr lang="en-US" smtClean="0"/>
              <a:t>‹#›</a:t>
            </a:fld>
            <a:endParaRPr lang="en-US"/>
          </a:p>
        </p:txBody>
      </p:sp>
      <p:sp>
        <p:nvSpPr>
          <p:cNvPr id="12" name="Picture Placeholder 3">
            <a:extLst>
              <a:ext uri="{FF2B5EF4-FFF2-40B4-BE49-F238E27FC236}">
                <a16:creationId xmlns:a16="http://schemas.microsoft.com/office/drawing/2014/main" id="{BC72F3AF-B475-9647-BF03-4666650AC563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8139033" y="-926"/>
            <a:ext cx="4053443" cy="6266823"/>
          </a:xfrm>
          <a:prstGeom prst="rect">
            <a:avLst/>
          </a:prstGeom>
        </p:spPr>
        <p:txBody>
          <a:bodyPr vert="horz" lIns="640080" tIns="45720" rIns="640080" bIns="45720" rtlCol="0" anchor="ctr">
            <a:noAutofit/>
          </a:bodyPr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1333">
                <a:solidFill>
                  <a:schemeClr val="bg1"/>
                </a:solidFill>
                <a:highlight>
                  <a:srgbClr val="80B9F9"/>
                </a:highlight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</p:spTree>
    <p:extLst>
      <p:ext uri="{BB962C8B-B14F-4D97-AF65-F5344CB8AC3E}">
        <p14:creationId xmlns:p14="http://schemas.microsoft.com/office/powerpoint/2010/main" val="1342728543"/>
      </p:ext>
    </p:extLst>
  </p:cSld>
  <p:clrMapOvr>
    <a:masterClrMapping/>
  </p:clrMapOvr>
  <p:transition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Organizational Char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27C3234-2208-4FD5-BA5D-47924B90C3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anchor="t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35806CBA-57D9-9E40-85DA-4469949C69C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bg1"/>
                </a:solidFill>
              </a:defRPr>
            </a:lvl1pPr>
          </a:lstStyle>
          <a:p>
            <a:fld id="{F531C153-56E2-4D58-BF8C-84423A751AD4}" type="slidenum">
              <a:rPr lang="en-US" smtClean="0"/>
              <a:t>‹#›</a:t>
            </a:fld>
            <a:endParaRPr lang="en-US"/>
          </a:p>
        </p:txBody>
      </p:sp>
      <p:sp>
        <p:nvSpPr>
          <p:cNvPr id="5" name="Freeform 4">
            <a:extLst>
              <a:ext uri="{FF2B5EF4-FFF2-40B4-BE49-F238E27FC236}">
                <a16:creationId xmlns:a16="http://schemas.microsoft.com/office/drawing/2014/main" id="{C999B462-8110-C04D-8321-DCB913BE4F85}"/>
              </a:ext>
            </a:extLst>
          </p:cNvPr>
          <p:cNvSpPr/>
          <p:nvPr/>
        </p:nvSpPr>
        <p:spPr>
          <a:xfrm>
            <a:off x="1210102" y="4468020"/>
            <a:ext cx="9744501" cy="333021"/>
          </a:xfrm>
          <a:custGeom>
            <a:avLst/>
            <a:gdLst>
              <a:gd name="connsiteX0" fmla="*/ 0 w 1425844"/>
              <a:gd name="connsiteY0" fmla="*/ 302217 h 302217"/>
              <a:gd name="connsiteX1" fmla="*/ 0 w 1425844"/>
              <a:gd name="connsiteY1" fmla="*/ 0 h 302217"/>
              <a:gd name="connsiteX2" fmla="*/ 1425844 w 1425844"/>
              <a:gd name="connsiteY2" fmla="*/ 0 h 302217"/>
              <a:gd name="connsiteX3" fmla="*/ 1425844 w 1425844"/>
              <a:gd name="connsiteY3" fmla="*/ 286719 h 3022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425844" h="302217">
                <a:moveTo>
                  <a:pt x="0" y="302217"/>
                </a:moveTo>
                <a:lnTo>
                  <a:pt x="0" y="0"/>
                </a:lnTo>
                <a:lnTo>
                  <a:pt x="1425844" y="0"/>
                </a:lnTo>
                <a:lnTo>
                  <a:pt x="1425844" y="286719"/>
                </a:lnTo>
              </a:path>
            </a:pathLst>
          </a:custGeom>
          <a:noFill/>
          <a:ln w="12700">
            <a:solidFill>
              <a:schemeClr val="bg1">
                <a:lumMod val="75000"/>
              </a:schemeClr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7FB0442C-D9C3-A343-AAD1-F64589F881FB}"/>
              </a:ext>
            </a:extLst>
          </p:cNvPr>
          <p:cNvCxnSpPr>
            <a:cxnSpLocks/>
          </p:cNvCxnSpPr>
          <p:nvPr/>
        </p:nvCxnSpPr>
        <p:spPr>
          <a:xfrm>
            <a:off x="3197223" y="4471426"/>
            <a:ext cx="0" cy="255653"/>
          </a:xfrm>
          <a:prstGeom prst="line">
            <a:avLst/>
          </a:prstGeom>
          <a:noFill/>
          <a:ln w="12700">
            <a:solidFill>
              <a:schemeClr val="bg1">
                <a:lumMod val="75000"/>
              </a:schemeClr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2924D327-0137-A14F-91A6-81F24F500E41}"/>
              </a:ext>
            </a:extLst>
          </p:cNvPr>
          <p:cNvCxnSpPr>
            <a:cxnSpLocks/>
          </p:cNvCxnSpPr>
          <p:nvPr/>
        </p:nvCxnSpPr>
        <p:spPr>
          <a:xfrm>
            <a:off x="5145879" y="4471426"/>
            <a:ext cx="0" cy="255653"/>
          </a:xfrm>
          <a:prstGeom prst="line">
            <a:avLst/>
          </a:prstGeom>
          <a:noFill/>
          <a:ln w="12700">
            <a:solidFill>
              <a:schemeClr val="bg1">
                <a:lumMod val="75000"/>
              </a:schemeClr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cxn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A299FD2B-996E-C14A-8339-186D9D02356A}"/>
              </a:ext>
            </a:extLst>
          </p:cNvPr>
          <p:cNvCxnSpPr>
            <a:cxnSpLocks/>
          </p:cNvCxnSpPr>
          <p:nvPr/>
        </p:nvCxnSpPr>
        <p:spPr>
          <a:xfrm>
            <a:off x="7045324" y="4471426"/>
            <a:ext cx="0" cy="255653"/>
          </a:xfrm>
          <a:prstGeom prst="line">
            <a:avLst/>
          </a:prstGeom>
          <a:noFill/>
          <a:ln w="12700">
            <a:solidFill>
              <a:schemeClr val="bg1">
                <a:lumMod val="75000"/>
              </a:schemeClr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808C38A4-5DB3-7F42-8F69-BEE62127E4DD}"/>
              </a:ext>
            </a:extLst>
          </p:cNvPr>
          <p:cNvCxnSpPr>
            <a:cxnSpLocks/>
          </p:cNvCxnSpPr>
          <p:nvPr/>
        </p:nvCxnSpPr>
        <p:spPr>
          <a:xfrm>
            <a:off x="8969375" y="4471426"/>
            <a:ext cx="0" cy="255653"/>
          </a:xfrm>
          <a:prstGeom prst="line">
            <a:avLst/>
          </a:prstGeom>
          <a:noFill/>
          <a:ln w="12700">
            <a:solidFill>
              <a:schemeClr val="bg1">
                <a:lumMod val="75000"/>
              </a:schemeClr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AA8E3D9F-B934-114C-AD73-8E92FF9CB025}"/>
              </a:ext>
            </a:extLst>
          </p:cNvPr>
          <p:cNvCxnSpPr>
            <a:cxnSpLocks/>
          </p:cNvCxnSpPr>
          <p:nvPr/>
        </p:nvCxnSpPr>
        <p:spPr>
          <a:xfrm>
            <a:off x="6083300" y="2310345"/>
            <a:ext cx="0" cy="2157676"/>
          </a:xfrm>
          <a:prstGeom prst="line">
            <a:avLst/>
          </a:prstGeom>
          <a:noFill/>
          <a:ln w="12700">
            <a:solidFill>
              <a:schemeClr val="bg1">
                <a:lumMod val="75000"/>
              </a:schemeClr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cxnSp>
      <p:sp>
        <p:nvSpPr>
          <p:cNvPr id="11" name="Rectangle 10">
            <a:extLst>
              <a:ext uri="{FF2B5EF4-FFF2-40B4-BE49-F238E27FC236}">
                <a16:creationId xmlns:a16="http://schemas.microsoft.com/office/drawing/2014/main" id="{C30C9E37-B9FE-0F42-B76C-6E186674CF14}"/>
              </a:ext>
            </a:extLst>
          </p:cNvPr>
          <p:cNvSpPr/>
          <p:nvPr/>
        </p:nvSpPr>
        <p:spPr>
          <a:xfrm>
            <a:off x="5168900" y="1907479"/>
            <a:ext cx="1828800" cy="60960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Bef>
                <a:spcPts val="133"/>
              </a:spcBef>
            </a:pPr>
            <a:endParaRPr lang="en-US" sz="933" i="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44CA10D2-95E2-C548-B241-ADD6FA609B2D}"/>
              </a:ext>
            </a:extLst>
          </p:cNvPr>
          <p:cNvSpPr/>
          <p:nvPr/>
        </p:nvSpPr>
        <p:spPr>
          <a:xfrm>
            <a:off x="358772" y="3737627"/>
            <a:ext cx="1828800" cy="6096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  <a:spcBef>
                <a:spcPts val="133"/>
              </a:spcBef>
            </a:pPr>
            <a:endParaRPr lang="en-US" sz="1067" i="1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6A3EDC0C-BF79-9247-8C59-72F49284B7F1}"/>
              </a:ext>
            </a:extLst>
          </p:cNvPr>
          <p:cNvSpPr/>
          <p:nvPr/>
        </p:nvSpPr>
        <p:spPr>
          <a:xfrm>
            <a:off x="8054975" y="3737627"/>
            <a:ext cx="1828800" cy="6096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  <a:spcBef>
                <a:spcPts val="133"/>
              </a:spcBef>
            </a:pPr>
            <a:endParaRPr lang="en-US" sz="800" i="1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D9222FDD-37C5-874F-B0FB-DC01939B746B}"/>
              </a:ext>
            </a:extLst>
          </p:cNvPr>
          <p:cNvSpPr/>
          <p:nvPr/>
        </p:nvSpPr>
        <p:spPr>
          <a:xfrm>
            <a:off x="2282823" y="3737627"/>
            <a:ext cx="1828800" cy="6096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  <a:spcBef>
                <a:spcPts val="133"/>
              </a:spcBef>
            </a:pPr>
            <a:endParaRPr lang="en-US" sz="800" i="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B870BB1F-C180-E241-999F-5159168E3AB2}"/>
              </a:ext>
            </a:extLst>
          </p:cNvPr>
          <p:cNvSpPr/>
          <p:nvPr/>
        </p:nvSpPr>
        <p:spPr>
          <a:xfrm>
            <a:off x="4231479" y="3737627"/>
            <a:ext cx="1828800" cy="6096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  <a:spcBef>
                <a:spcPts val="133"/>
              </a:spcBef>
            </a:pPr>
            <a:endParaRPr lang="en-US" sz="800" i="1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6AC6A555-418A-F246-BECF-87BD8BF403E0}"/>
              </a:ext>
            </a:extLst>
          </p:cNvPr>
          <p:cNvSpPr/>
          <p:nvPr/>
        </p:nvSpPr>
        <p:spPr>
          <a:xfrm>
            <a:off x="6130924" y="3737627"/>
            <a:ext cx="1828800" cy="6096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  <a:spcBef>
                <a:spcPts val="133"/>
              </a:spcBef>
            </a:pPr>
            <a:endParaRPr lang="en-US" sz="800" i="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38B422DF-FB66-5347-9CA5-0A6ABE5575A6}"/>
              </a:ext>
            </a:extLst>
          </p:cNvPr>
          <p:cNvSpPr/>
          <p:nvPr/>
        </p:nvSpPr>
        <p:spPr>
          <a:xfrm>
            <a:off x="9979028" y="3737627"/>
            <a:ext cx="1828800" cy="6096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  <a:spcBef>
                <a:spcPts val="133"/>
              </a:spcBef>
            </a:pPr>
            <a:endParaRPr lang="en-US" sz="800" i="1"/>
          </a:p>
        </p:txBody>
      </p:sp>
      <p:sp>
        <p:nvSpPr>
          <p:cNvPr id="18" name="Freeform 17">
            <a:extLst>
              <a:ext uri="{FF2B5EF4-FFF2-40B4-BE49-F238E27FC236}">
                <a16:creationId xmlns:a16="http://schemas.microsoft.com/office/drawing/2014/main" id="{14A02377-76B4-CE4A-9605-AADDCDDA9A70}"/>
              </a:ext>
            </a:extLst>
          </p:cNvPr>
          <p:cNvSpPr/>
          <p:nvPr/>
        </p:nvSpPr>
        <p:spPr>
          <a:xfrm>
            <a:off x="1210102" y="2645242"/>
            <a:ext cx="9744501" cy="333021"/>
          </a:xfrm>
          <a:custGeom>
            <a:avLst/>
            <a:gdLst>
              <a:gd name="connsiteX0" fmla="*/ 0 w 1425844"/>
              <a:gd name="connsiteY0" fmla="*/ 302217 h 302217"/>
              <a:gd name="connsiteX1" fmla="*/ 0 w 1425844"/>
              <a:gd name="connsiteY1" fmla="*/ 0 h 302217"/>
              <a:gd name="connsiteX2" fmla="*/ 1425844 w 1425844"/>
              <a:gd name="connsiteY2" fmla="*/ 0 h 302217"/>
              <a:gd name="connsiteX3" fmla="*/ 1425844 w 1425844"/>
              <a:gd name="connsiteY3" fmla="*/ 286719 h 3022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425844" h="302217">
                <a:moveTo>
                  <a:pt x="0" y="302217"/>
                </a:moveTo>
                <a:lnTo>
                  <a:pt x="0" y="0"/>
                </a:lnTo>
                <a:lnTo>
                  <a:pt x="1425844" y="0"/>
                </a:lnTo>
                <a:lnTo>
                  <a:pt x="1425844" y="286719"/>
                </a:lnTo>
              </a:path>
            </a:pathLst>
          </a:custGeom>
          <a:noFill/>
          <a:ln w="12700">
            <a:solidFill>
              <a:schemeClr val="bg1">
                <a:lumMod val="75000"/>
              </a:schemeClr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/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BC6C3176-E04A-704F-9946-5117FA2DDAA8}"/>
              </a:ext>
            </a:extLst>
          </p:cNvPr>
          <p:cNvCxnSpPr>
            <a:cxnSpLocks/>
          </p:cNvCxnSpPr>
          <p:nvPr/>
        </p:nvCxnSpPr>
        <p:spPr>
          <a:xfrm>
            <a:off x="3197223" y="2648647"/>
            <a:ext cx="0" cy="255653"/>
          </a:xfrm>
          <a:prstGeom prst="line">
            <a:avLst/>
          </a:prstGeom>
          <a:noFill/>
          <a:ln w="12700">
            <a:solidFill>
              <a:schemeClr val="bg1">
                <a:lumMod val="75000"/>
              </a:schemeClr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62F63343-0F10-A944-8401-4B5A164DF19C}"/>
              </a:ext>
            </a:extLst>
          </p:cNvPr>
          <p:cNvCxnSpPr>
            <a:cxnSpLocks/>
          </p:cNvCxnSpPr>
          <p:nvPr/>
        </p:nvCxnSpPr>
        <p:spPr>
          <a:xfrm>
            <a:off x="5145879" y="2648647"/>
            <a:ext cx="0" cy="255653"/>
          </a:xfrm>
          <a:prstGeom prst="line">
            <a:avLst/>
          </a:prstGeom>
          <a:noFill/>
          <a:ln w="12700">
            <a:solidFill>
              <a:schemeClr val="bg1">
                <a:lumMod val="75000"/>
              </a:schemeClr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0C502309-6D68-024F-A888-317FD4D8D711}"/>
              </a:ext>
            </a:extLst>
          </p:cNvPr>
          <p:cNvCxnSpPr>
            <a:cxnSpLocks/>
          </p:cNvCxnSpPr>
          <p:nvPr/>
        </p:nvCxnSpPr>
        <p:spPr>
          <a:xfrm>
            <a:off x="7045324" y="2648647"/>
            <a:ext cx="0" cy="255653"/>
          </a:xfrm>
          <a:prstGeom prst="line">
            <a:avLst/>
          </a:prstGeom>
          <a:noFill/>
          <a:ln w="12700">
            <a:solidFill>
              <a:schemeClr val="bg1">
                <a:lumMod val="75000"/>
              </a:schemeClr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E9C284CC-6CE7-3448-B393-82C337C07389}"/>
              </a:ext>
            </a:extLst>
          </p:cNvPr>
          <p:cNvCxnSpPr>
            <a:cxnSpLocks/>
          </p:cNvCxnSpPr>
          <p:nvPr/>
        </p:nvCxnSpPr>
        <p:spPr>
          <a:xfrm>
            <a:off x="8969375" y="2648647"/>
            <a:ext cx="0" cy="255653"/>
          </a:xfrm>
          <a:prstGeom prst="line">
            <a:avLst/>
          </a:prstGeom>
          <a:noFill/>
          <a:ln w="12700">
            <a:solidFill>
              <a:schemeClr val="bg1">
                <a:lumMod val="75000"/>
              </a:schemeClr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cxnSp>
      <p:sp>
        <p:nvSpPr>
          <p:cNvPr id="23" name="Rectangle 22">
            <a:extLst>
              <a:ext uri="{FF2B5EF4-FFF2-40B4-BE49-F238E27FC236}">
                <a16:creationId xmlns:a16="http://schemas.microsoft.com/office/drawing/2014/main" id="{1F3C5FBC-F6C1-624B-8EDE-991E5D69275F}"/>
              </a:ext>
            </a:extLst>
          </p:cNvPr>
          <p:cNvSpPr/>
          <p:nvPr/>
        </p:nvSpPr>
        <p:spPr>
          <a:xfrm>
            <a:off x="358772" y="5558756"/>
            <a:ext cx="1828800" cy="6096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  <a:spcBef>
                <a:spcPts val="133"/>
              </a:spcBef>
            </a:pPr>
            <a:endParaRPr lang="en-US" sz="800" i="1"/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7D76BA32-E630-D749-A400-0EBDAD25157D}"/>
              </a:ext>
            </a:extLst>
          </p:cNvPr>
          <p:cNvSpPr/>
          <p:nvPr/>
        </p:nvSpPr>
        <p:spPr>
          <a:xfrm>
            <a:off x="8054975" y="5558756"/>
            <a:ext cx="1828800" cy="6096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  <a:spcBef>
                <a:spcPts val="133"/>
              </a:spcBef>
            </a:pPr>
            <a:endParaRPr lang="en-US" sz="800" i="1"/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3D1D29C1-5F9D-FD41-8F12-28A5FA03BE64}"/>
              </a:ext>
            </a:extLst>
          </p:cNvPr>
          <p:cNvSpPr/>
          <p:nvPr/>
        </p:nvSpPr>
        <p:spPr>
          <a:xfrm>
            <a:off x="2282823" y="5558756"/>
            <a:ext cx="1828800" cy="6096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  <a:spcBef>
                <a:spcPts val="133"/>
              </a:spcBef>
            </a:pPr>
            <a:endParaRPr lang="en-US" sz="800" i="1"/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96E8CAB2-F6C9-9344-9E7B-84908FFD33E1}"/>
              </a:ext>
            </a:extLst>
          </p:cNvPr>
          <p:cNvSpPr/>
          <p:nvPr/>
        </p:nvSpPr>
        <p:spPr>
          <a:xfrm>
            <a:off x="4231479" y="5558756"/>
            <a:ext cx="1828800" cy="6096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  <a:spcBef>
                <a:spcPts val="133"/>
              </a:spcBef>
            </a:pPr>
            <a:endParaRPr lang="en-US" sz="800" i="1"/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9FD62A20-EDAB-4041-9FEA-4A6CCB891A76}"/>
              </a:ext>
            </a:extLst>
          </p:cNvPr>
          <p:cNvSpPr/>
          <p:nvPr/>
        </p:nvSpPr>
        <p:spPr>
          <a:xfrm>
            <a:off x="6130924" y="5558756"/>
            <a:ext cx="1828800" cy="6096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  <a:spcBef>
                <a:spcPts val="133"/>
              </a:spcBef>
            </a:pPr>
            <a:endParaRPr lang="en-US" sz="800" i="1"/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0ACA0A66-64DD-7842-8EA3-24BB6146FDA9}"/>
              </a:ext>
            </a:extLst>
          </p:cNvPr>
          <p:cNvSpPr/>
          <p:nvPr/>
        </p:nvSpPr>
        <p:spPr>
          <a:xfrm>
            <a:off x="9979028" y="5558756"/>
            <a:ext cx="1828800" cy="6096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  <a:spcBef>
                <a:spcPts val="133"/>
              </a:spcBef>
            </a:pPr>
            <a:endParaRPr lang="en-US" sz="800" i="1"/>
          </a:p>
        </p:txBody>
      </p:sp>
      <p:grpSp>
        <p:nvGrpSpPr>
          <p:cNvPr id="29" name="Group 28">
            <a:extLst>
              <a:ext uri="{FF2B5EF4-FFF2-40B4-BE49-F238E27FC236}">
                <a16:creationId xmlns:a16="http://schemas.microsoft.com/office/drawing/2014/main" id="{6D5F48AB-C0AD-D048-A68E-91B6D97E4BA4}"/>
              </a:ext>
            </a:extLst>
          </p:cNvPr>
          <p:cNvGrpSpPr/>
          <p:nvPr/>
        </p:nvGrpSpPr>
        <p:grpSpPr>
          <a:xfrm>
            <a:off x="5656580" y="964037"/>
            <a:ext cx="853440" cy="853440"/>
            <a:chOff x="4243624" y="656353"/>
            <a:chExt cx="640080" cy="640080"/>
          </a:xfrm>
        </p:grpSpPr>
        <p:sp>
          <p:nvSpPr>
            <p:cNvPr id="30" name="Oval 29">
              <a:extLst>
                <a:ext uri="{FF2B5EF4-FFF2-40B4-BE49-F238E27FC236}">
                  <a16:creationId xmlns:a16="http://schemas.microsoft.com/office/drawing/2014/main" id="{B2B5F933-6C07-3440-A0E1-69303C84371C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243624" y="656353"/>
              <a:ext cx="640080" cy="64008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31" name="Graphic 11">
              <a:extLst>
                <a:ext uri="{FF2B5EF4-FFF2-40B4-BE49-F238E27FC236}">
                  <a16:creationId xmlns:a16="http://schemas.microsoft.com/office/drawing/2014/main" id="{38E4480D-34D0-D14E-9E95-C1D96CC2CB85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378703" y="775225"/>
              <a:ext cx="369923" cy="402336"/>
            </a:xfrm>
            <a:custGeom>
              <a:avLst/>
              <a:gdLst>
                <a:gd name="connsiteX0" fmla="*/ 143627 w 158948"/>
                <a:gd name="connsiteY0" fmla="*/ 106291 h 172875"/>
                <a:gd name="connsiteX1" fmla="*/ 139960 w 158948"/>
                <a:gd name="connsiteY1" fmla="*/ 104458 h 172875"/>
                <a:gd name="connsiteX2" fmla="*/ 127736 w 158948"/>
                <a:gd name="connsiteY2" fmla="*/ 99571 h 172875"/>
                <a:gd name="connsiteX3" fmla="*/ 127736 w 158948"/>
                <a:gd name="connsiteY3" fmla="*/ 99571 h 172875"/>
                <a:gd name="connsiteX4" fmla="*/ 124680 w 158948"/>
                <a:gd name="connsiteY4" fmla="*/ 98350 h 172875"/>
                <a:gd name="connsiteX5" fmla="*/ 116735 w 158948"/>
                <a:gd name="connsiteY5" fmla="*/ 95906 h 172875"/>
                <a:gd name="connsiteX6" fmla="*/ 106956 w 158948"/>
                <a:gd name="connsiteY6" fmla="*/ 93463 h 172875"/>
                <a:gd name="connsiteX7" fmla="*/ 101456 w 158948"/>
                <a:gd name="connsiteY7" fmla="*/ 83689 h 172875"/>
                <a:gd name="connsiteX8" fmla="*/ 124069 w 158948"/>
                <a:gd name="connsiteY8" fmla="*/ 44593 h 172875"/>
                <a:gd name="connsiteX9" fmla="*/ 79453 w 158948"/>
                <a:gd name="connsiteY9" fmla="*/ 0 h 172875"/>
                <a:gd name="connsiteX10" fmla="*/ 34837 w 158948"/>
                <a:gd name="connsiteY10" fmla="*/ 44593 h 172875"/>
                <a:gd name="connsiteX11" fmla="*/ 57451 w 158948"/>
                <a:gd name="connsiteY11" fmla="*/ 83689 h 172875"/>
                <a:gd name="connsiteX12" fmla="*/ 51950 w 158948"/>
                <a:gd name="connsiteY12" fmla="*/ 94074 h 172875"/>
                <a:gd name="connsiteX13" fmla="*/ 42171 w 158948"/>
                <a:gd name="connsiteY13" fmla="*/ 95906 h 172875"/>
                <a:gd name="connsiteX14" fmla="*/ 34226 w 158948"/>
                <a:gd name="connsiteY14" fmla="*/ 98350 h 172875"/>
                <a:gd name="connsiteX15" fmla="*/ 28726 w 158948"/>
                <a:gd name="connsiteY15" fmla="*/ 100182 h 172875"/>
                <a:gd name="connsiteX16" fmla="*/ 28726 w 158948"/>
                <a:gd name="connsiteY16" fmla="*/ 100182 h 172875"/>
                <a:gd name="connsiteX17" fmla="*/ 23225 w 158948"/>
                <a:gd name="connsiteY17" fmla="*/ 102626 h 172875"/>
                <a:gd name="connsiteX18" fmla="*/ 23225 w 158948"/>
                <a:gd name="connsiteY18" fmla="*/ 102626 h 172875"/>
                <a:gd name="connsiteX19" fmla="*/ 15891 w 158948"/>
                <a:gd name="connsiteY19" fmla="*/ 106291 h 172875"/>
                <a:gd name="connsiteX20" fmla="*/ 0 w 158948"/>
                <a:gd name="connsiteY20" fmla="*/ 132558 h 172875"/>
                <a:gd name="connsiteX21" fmla="*/ 0 w 158948"/>
                <a:gd name="connsiteY21" fmla="*/ 140499 h 172875"/>
                <a:gd name="connsiteX22" fmla="*/ 10390 w 158948"/>
                <a:gd name="connsiteY22" fmla="*/ 158215 h 172875"/>
                <a:gd name="connsiteX23" fmla="*/ 79453 w 158948"/>
                <a:gd name="connsiteY23" fmla="*/ 172875 h 172875"/>
                <a:gd name="connsiteX24" fmla="*/ 148517 w 158948"/>
                <a:gd name="connsiteY24" fmla="*/ 158215 h 172875"/>
                <a:gd name="connsiteX25" fmla="*/ 158907 w 158948"/>
                <a:gd name="connsiteY25" fmla="*/ 140499 h 172875"/>
                <a:gd name="connsiteX26" fmla="*/ 158907 w 158948"/>
                <a:gd name="connsiteY26" fmla="*/ 132558 h 172875"/>
                <a:gd name="connsiteX27" fmla="*/ 143627 w 158948"/>
                <a:gd name="connsiteY27" fmla="*/ 106291 h 172875"/>
                <a:gd name="connsiteX28" fmla="*/ 40338 w 158948"/>
                <a:gd name="connsiteY28" fmla="*/ 45204 h 172875"/>
                <a:gd name="connsiteX29" fmla="*/ 80064 w 158948"/>
                <a:gd name="connsiteY29" fmla="*/ 5498 h 172875"/>
                <a:gd name="connsiteX30" fmla="*/ 119791 w 158948"/>
                <a:gd name="connsiteY30" fmla="*/ 45204 h 172875"/>
                <a:gd name="connsiteX31" fmla="*/ 80064 w 158948"/>
                <a:gd name="connsiteY31" fmla="*/ 84911 h 172875"/>
                <a:gd name="connsiteX32" fmla="*/ 40338 w 158948"/>
                <a:gd name="connsiteY32" fmla="*/ 45204 h 172875"/>
                <a:gd name="connsiteX33" fmla="*/ 54395 w 158948"/>
                <a:gd name="connsiteY33" fmla="*/ 100182 h 172875"/>
                <a:gd name="connsiteX34" fmla="*/ 54395 w 158948"/>
                <a:gd name="connsiteY34" fmla="*/ 100182 h 172875"/>
                <a:gd name="connsiteX35" fmla="*/ 54395 w 158948"/>
                <a:gd name="connsiteY35" fmla="*/ 100182 h 172875"/>
                <a:gd name="connsiteX36" fmla="*/ 55006 w 158948"/>
                <a:gd name="connsiteY36" fmla="*/ 100182 h 172875"/>
                <a:gd name="connsiteX37" fmla="*/ 55617 w 158948"/>
                <a:gd name="connsiteY37" fmla="*/ 99571 h 172875"/>
                <a:gd name="connsiteX38" fmla="*/ 55617 w 158948"/>
                <a:gd name="connsiteY38" fmla="*/ 99571 h 172875"/>
                <a:gd name="connsiteX39" fmla="*/ 62951 w 158948"/>
                <a:gd name="connsiteY39" fmla="*/ 87354 h 172875"/>
                <a:gd name="connsiteX40" fmla="*/ 79453 w 158948"/>
                <a:gd name="connsiteY40" fmla="*/ 90408 h 172875"/>
                <a:gd name="connsiteX41" fmla="*/ 95955 w 158948"/>
                <a:gd name="connsiteY41" fmla="*/ 87354 h 172875"/>
                <a:gd name="connsiteX42" fmla="*/ 103289 w 158948"/>
                <a:gd name="connsiteY42" fmla="*/ 99571 h 172875"/>
                <a:gd name="connsiteX43" fmla="*/ 103289 w 158948"/>
                <a:gd name="connsiteY43" fmla="*/ 99571 h 172875"/>
                <a:gd name="connsiteX44" fmla="*/ 103901 w 158948"/>
                <a:gd name="connsiteY44" fmla="*/ 100182 h 172875"/>
                <a:gd name="connsiteX45" fmla="*/ 104512 w 158948"/>
                <a:gd name="connsiteY45" fmla="*/ 100182 h 172875"/>
                <a:gd name="connsiteX46" fmla="*/ 104512 w 158948"/>
                <a:gd name="connsiteY46" fmla="*/ 100182 h 172875"/>
                <a:gd name="connsiteX47" fmla="*/ 108179 w 158948"/>
                <a:gd name="connsiteY47" fmla="*/ 100793 h 172875"/>
                <a:gd name="connsiteX48" fmla="*/ 79453 w 158948"/>
                <a:gd name="connsiteY48" fmla="*/ 119730 h 172875"/>
                <a:gd name="connsiteX49" fmla="*/ 50728 w 158948"/>
                <a:gd name="connsiteY49" fmla="*/ 101404 h 172875"/>
                <a:gd name="connsiteX50" fmla="*/ 54395 w 158948"/>
                <a:gd name="connsiteY50" fmla="*/ 100182 h 172875"/>
                <a:gd name="connsiteX51" fmla="*/ 146072 w 158948"/>
                <a:gd name="connsiteY51" fmla="*/ 153939 h 172875"/>
                <a:gd name="connsiteX52" fmla="*/ 79453 w 158948"/>
                <a:gd name="connsiteY52" fmla="*/ 167988 h 172875"/>
                <a:gd name="connsiteX53" fmla="*/ 12835 w 158948"/>
                <a:gd name="connsiteY53" fmla="*/ 153939 h 172875"/>
                <a:gd name="connsiteX54" fmla="*/ 5500 w 158948"/>
                <a:gd name="connsiteY54" fmla="*/ 141110 h 172875"/>
                <a:gd name="connsiteX55" fmla="*/ 5500 w 158948"/>
                <a:gd name="connsiteY55" fmla="*/ 133169 h 172875"/>
                <a:gd name="connsiteX56" fmla="*/ 18335 w 158948"/>
                <a:gd name="connsiteY56" fmla="*/ 111789 h 172875"/>
                <a:gd name="connsiteX57" fmla="*/ 35448 w 158948"/>
                <a:gd name="connsiteY57" fmla="*/ 104458 h 172875"/>
                <a:gd name="connsiteX58" fmla="*/ 43394 w 158948"/>
                <a:gd name="connsiteY58" fmla="*/ 102015 h 172875"/>
                <a:gd name="connsiteX59" fmla="*/ 44616 w 158948"/>
                <a:gd name="connsiteY59" fmla="*/ 102015 h 172875"/>
                <a:gd name="connsiteX60" fmla="*/ 78842 w 158948"/>
                <a:gd name="connsiteY60" fmla="*/ 125228 h 172875"/>
                <a:gd name="connsiteX61" fmla="*/ 113068 w 158948"/>
                <a:gd name="connsiteY61" fmla="*/ 102015 h 172875"/>
                <a:gd name="connsiteX62" fmla="*/ 114291 w 158948"/>
                <a:gd name="connsiteY62" fmla="*/ 102626 h 172875"/>
                <a:gd name="connsiteX63" fmla="*/ 122236 w 158948"/>
                <a:gd name="connsiteY63" fmla="*/ 105069 h 172875"/>
                <a:gd name="connsiteX64" fmla="*/ 139349 w 158948"/>
                <a:gd name="connsiteY64" fmla="*/ 112400 h 172875"/>
                <a:gd name="connsiteX65" fmla="*/ 152184 w 158948"/>
                <a:gd name="connsiteY65" fmla="*/ 133780 h 172875"/>
                <a:gd name="connsiteX66" fmla="*/ 152184 w 158948"/>
                <a:gd name="connsiteY66" fmla="*/ 141721 h 172875"/>
                <a:gd name="connsiteX67" fmla="*/ 146072 w 158948"/>
                <a:gd name="connsiteY67" fmla="*/ 153939 h 172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158948" h="172875">
                  <a:moveTo>
                    <a:pt x="143627" y="106291"/>
                  </a:moveTo>
                  <a:cubicBezTo>
                    <a:pt x="142405" y="105680"/>
                    <a:pt x="141182" y="105069"/>
                    <a:pt x="139960" y="104458"/>
                  </a:cubicBezTo>
                  <a:cubicBezTo>
                    <a:pt x="136904" y="102626"/>
                    <a:pt x="127736" y="99571"/>
                    <a:pt x="127736" y="99571"/>
                  </a:cubicBezTo>
                  <a:lnTo>
                    <a:pt x="127736" y="99571"/>
                  </a:lnTo>
                  <a:cubicBezTo>
                    <a:pt x="126514" y="98961"/>
                    <a:pt x="125903" y="98961"/>
                    <a:pt x="124680" y="98350"/>
                  </a:cubicBezTo>
                  <a:cubicBezTo>
                    <a:pt x="121625" y="97128"/>
                    <a:pt x="119180" y="96517"/>
                    <a:pt x="116735" y="95906"/>
                  </a:cubicBezTo>
                  <a:cubicBezTo>
                    <a:pt x="113679" y="94684"/>
                    <a:pt x="110012" y="94074"/>
                    <a:pt x="106956" y="93463"/>
                  </a:cubicBezTo>
                  <a:cubicBezTo>
                    <a:pt x="104512" y="91019"/>
                    <a:pt x="102678" y="87354"/>
                    <a:pt x="101456" y="83689"/>
                  </a:cubicBezTo>
                  <a:cubicBezTo>
                    <a:pt x="114902" y="75748"/>
                    <a:pt x="124069" y="61698"/>
                    <a:pt x="124069" y="44593"/>
                  </a:cubicBezTo>
                  <a:cubicBezTo>
                    <a:pt x="124069" y="20159"/>
                    <a:pt x="103901" y="0"/>
                    <a:pt x="79453" y="0"/>
                  </a:cubicBezTo>
                  <a:cubicBezTo>
                    <a:pt x="55006" y="0"/>
                    <a:pt x="34837" y="20159"/>
                    <a:pt x="34837" y="44593"/>
                  </a:cubicBezTo>
                  <a:cubicBezTo>
                    <a:pt x="34837" y="61087"/>
                    <a:pt x="44005" y="75748"/>
                    <a:pt x="57451" y="83689"/>
                  </a:cubicBezTo>
                  <a:cubicBezTo>
                    <a:pt x="56229" y="87354"/>
                    <a:pt x="54395" y="91019"/>
                    <a:pt x="51950" y="94074"/>
                  </a:cubicBezTo>
                  <a:cubicBezTo>
                    <a:pt x="45838" y="95295"/>
                    <a:pt x="42171" y="95906"/>
                    <a:pt x="42171" y="95906"/>
                  </a:cubicBezTo>
                  <a:cubicBezTo>
                    <a:pt x="39727" y="96517"/>
                    <a:pt x="37282" y="97128"/>
                    <a:pt x="34226" y="98350"/>
                  </a:cubicBezTo>
                  <a:cubicBezTo>
                    <a:pt x="32392" y="98961"/>
                    <a:pt x="30559" y="99571"/>
                    <a:pt x="28726" y="100182"/>
                  </a:cubicBezTo>
                  <a:cubicBezTo>
                    <a:pt x="28726" y="100182"/>
                    <a:pt x="28726" y="100182"/>
                    <a:pt x="28726" y="100182"/>
                  </a:cubicBezTo>
                  <a:cubicBezTo>
                    <a:pt x="26892" y="100793"/>
                    <a:pt x="25058" y="102015"/>
                    <a:pt x="23225" y="102626"/>
                  </a:cubicBezTo>
                  <a:cubicBezTo>
                    <a:pt x="23225" y="102626"/>
                    <a:pt x="23225" y="102626"/>
                    <a:pt x="23225" y="102626"/>
                  </a:cubicBezTo>
                  <a:cubicBezTo>
                    <a:pt x="20780" y="103847"/>
                    <a:pt x="18335" y="105069"/>
                    <a:pt x="15891" y="106291"/>
                  </a:cubicBezTo>
                  <a:cubicBezTo>
                    <a:pt x="6112" y="111178"/>
                    <a:pt x="0" y="121563"/>
                    <a:pt x="0" y="132558"/>
                  </a:cubicBezTo>
                  <a:lnTo>
                    <a:pt x="0" y="140499"/>
                  </a:lnTo>
                  <a:cubicBezTo>
                    <a:pt x="0" y="147830"/>
                    <a:pt x="4278" y="154549"/>
                    <a:pt x="10390" y="158215"/>
                  </a:cubicBezTo>
                  <a:cubicBezTo>
                    <a:pt x="22614" y="164934"/>
                    <a:pt x="45227" y="172875"/>
                    <a:pt x="79453" y="172875"/>
                  </a:cubicBezTo>
                  <a:cubicBezTo>
                    <a:pt x="113679" y="172875"/>
                    <a:pt x="136293" y="164934"/>
                    <a:pt x="148517" y="158215"/>
                  </a:cubicBezTo>
                  <a:cubicBezTo>
                    <a:pt x="155239" y="154549"/>
                    <a:pt x="158907" y="147830"/>
                    <a:pt x="158907" y="140499"/>
                  </a:cubicBezTo>
                  <a:lnTo>
                    <a:pt x="158907" y="132558"/>
                  </a:lnTo>
                  <a:cubicBezTo>
                    <a:pt x="159518" y="121563"/>
                    <a:pt x="153406" y="111789"/>
                    <a:pt x="143627" y="106291"/>
                  </a:cubicBezTo>
                  <a:close/>
                  <a:moveTo>
                    <a:pt x="40338" y="45204"/>
                  </a:moveTo>
                  <a:cubicBezTo>
                    <a:pt x="40338" y="23213"/>
                    <a:pt x="58062" y="5498"/>
                    <a:pt x="80064" y="5498"/>
                  </a:cubicBezTo>
                  <a:cubicBezTo>
                    <a:pt x="102067" y="5498"/>
                    <a:pt x="119791" y="23213"/>
                    <a:pt x="119791" y="45204"/>
                  </a:cubicBezTo>
                  <a:cubicBezTo>
                    <a:pt x="119791" y="67195"/>
                    <a:pt x="102067" y="84911"/>
                    <a:pt x="80064" y="84911"/>
                  </a:cubicBezTo>
                  <a:cubicBezTo>
                    <a:pt x="58062" y="84911"/>
                    <a:pt x="40338" y="67195"/>
                    <a:pt x="40338" y="45204"/>
                  </a:cubicBezTo>
                  <a:close/>
                  <a:moveTo>
                    <a:pt x="54395" y="100182"/>
                  </a:moveTo>
                  <a:lnTo>
                    <a:pt x="54395" y="100182"/>
                  </a:lnTo>
                  <a:cubicBezTo>
                    <a:pt x="55006" y="100182"/>
                    <a:pt x="55006" y="100182"/>
                    <a:pt x="54395" y="100182"/>
                  </a:cubicBezTo>
                  <a:cubicBezTo>
                    <a:pt x="55006" y="100182"/>
                    <a:pt x="55006" y="100182"/>
                    <a:pt x="55006" y="100182"/>
                  </a:cubicBezTo>
                  <a:lnTo>
                    <a:pt x="55617" y="99571"/>
                  </a:lnTo>
                  <a:cubicBezTo>
                    <a:pt x="55617" y="99571"/>
                    <a:pt x="55617" y="99571"/>
                    <a:pt x="55617" y="99571"/>
                  </a:cubicBezTo>
                  <a:cubicBezTo>
                    <a:pt x="59285" y="95906"/>
                    <a:pt x="61729" y="91630"/>
                    <a:pt x="62951" y="87354"/>
                  </a:cubicBezTo>
                  <a:cubicBezTo>
                    <a:pt x="67841" y="89187"/>
                    <a:pt x="73342" y="90408"/>
                    <a:pt x="79453" y="90408"/>
                  </a:cubicBezTo>
                  <a:cubicBezTo>
                    <a:pt x="85565" y="90408"/>
                    <a:pt x="91066" y="89187"/>
                    <a:pt x="95955" y="87354"/>
                  </a:cubicBezTo>
                  <a:cubicBezTo>
                    <a:pt x="97177" y="91630"/>
                    <a:pt x="99622" y="95906"/>
                    <a:pt x="103289" y="99571"/>
                  </a:cubicBezTo>
                  <a:cubicBezTo>
                    <a:pt x="103289" y="99571"/>
                    <a:pt x="103289" y="99571"/>
                    <a:pt x="103289" y="99571"/>
                  </a:cubicBezTo>
                  <a:cubicBezTo>
                    <a:pt x="103289" y="99571"/>
                    <a:pt x="103901" y="99571"/>
                    <a:pt x="103901" y="100182"/>
                  </a:cubicBezTo>
                  <a:cubicBezTo>
                    <a:pt x="103901" y="100182"/>
                    <a:pt x="104512" y="100182"/>
                    <a:pt x="104512" y="100182"/>
                  </a:cubicBezTo>
                  <a:cubicBezTo>
                    <a:pt x="104512" y="100182"/>
                    <a:pt x="104512" y="100182"/>
                    <a:pt x="104512" y="100182"/>
                  </a:cubicBezTo>
                  <a:cubicBezTo>
                    <a:pt x="105734" y="100182"/>
                    <a:pt x="106956" y="100793"/>
                    <a:pt x="108179" y="100793"/>
                  </a:cubicBezTo>
                  <a:cubicBezTo>
                    <a:pt x="106956" y="111178"/>
                    <a:pt x="94733" y="119730"/>
                    <a:pt x="79453" y="119730"/>
                  </a:cubicBezTo>
                  <a:cubicBezTo>
                    <a:pt x="64174" y="119730"/>
                    <a:pt x="52561" y="111789"/>
                    <a:pt x="50728" y="101404"/>
                  </a:cubicBezTo>
                  <a:cubicBezTo>
                    <a:pt x="51950" y="100182"/>
                    <a:pt x="53173" y="100182"/>
                    <a:pt x="54395" y="100182"/>
                  </a:cubicBezTo>
                  <a:close/>
                  <a:moveTo>
                    <a:pt x="146072" y="153939"/>
                  </a:moveTo>
                  <a:cubicBezTo>
                    <a:pt x="136293" y="159436"/>
                    <a:pt x="114902" y="167988"/>
                    <a:pt x="79453" y="167988"/>
                  </a:cubicBezTo>
                  <a:cubicBezTo>
                    <a:pt x="44616" y="167988"/>
                    <a:pt x="22614" y="159436"/>
                    <a:pt x="12835" y="153939"/>
                  </a:cubicBezTo>
                  <a:cubicBezTo>
                    <a:pt x="8556" y="151495"/>
                    <a:pt x="5500" y="146608"/>
                    <a:pt x="5500" y="141110"/>
                  </a:cubicBezTo>
                  <a:lnTo>
                    <a:pt x="5500" y="133169"/>
                  </a:lnTo>
                  <a:cubicBezTo>
                    <a:pt x="5500" y="124006"/>
                    <a:pt x="10390" y="116065"/>
                    <a:pt x="18335" y="111789"/>
                  </a:cubicBezTo>
                  <a:cubicBezTo>
                    <a:pt x="23836" y="108734"/>
                    <a:pt x="29948" y="106291"/>
                    <a:pt x="35448" y="104458"/>
                  </a:cubicBezTo>
                  <a:cubicBezTo>
                    <a:pt x="38504" y="103237"/>
                    <a:pt x="40949" y="102626"/>
                    <a:pt x="43394" y="102015"/>
                  </a:cubicBezTo>
                  <a:lnTo>
                    <a:pt x="44616" y="102015"/>
                  </a:lnTo>
                  <a:cubicBezTo>
                    <a:pt x="47061" y="114843"/>
                    <a:pt x="61729" y="125228"/>
                    <a:pt x="78842" y="125228"/>
                  </a:cubicBezTo>
                  <a:cubicBezTo>
                    <a:pt x="95955" y="125228"/>
                    <a:pt x="110623" y="114843"/>
                    <a:pt x="113068" y="102015"/>
                  </a:cubicBezTo>
                  <a:cubicBezTo>
                    <a:pt x="113679" y="102015"/>
                    <a:pt x="113679" y="102015"/>
                    <a:pt x="114291" y="102626"/>
                  </a:cubicBezTo>
                  <a:cubicBezTo>
                    <a:pt x="116735" y="103237"/>
                    <a:pt x="119180" y="103847"/>
                    <a:pt x="122236" y="105069"/>
                  </a:cubicBezTo>
                  <a:cubicBezTo>
                    <a:pt x="128348" y="106902"/>
                    <a:pt x="133848" y="109345"/>
                    <a:pt x="139349" y="112400"/>
                  </a:cubicBezTo>
                  <a:cubicBezTo>
                    <a:pt x="147294" y="116676"/>
                    <a:pt x="152184" y="124617"/>
                    <a:pt x="152184" y="133780"/>
                  </a:cubicBezTo>
                  <a:lnTo>
                    <a:pt x="152184" y="141721"/>
                  </a:lnTo>
                  <a:cubicBezTo>
                    <a:pt x="153406" y="146608"/>
                    <a:pt x="150962" y="150884"/>
                    <a:pt x="146072" y="153939"/>
                  </a:cubicBezTo>
                  <a:close/>
                </a:path>
              </a:pathLst>
            </a:custGeom>
            <a:solidFill>
              <a:srgbClr val="2473B9"/>
            </a:solidFill>
            <a:ln w="61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</p:grpSp>
      <p:grpSp>
        <p:nvGrpSpPr>
          <p:cNvPr id="32" name="Group 31">
            <a:extLst>
              <a:ext uri="{FF2B5EF4-FFF2-40B4-BE49-F238E27FC236}">
                <a16:creationId xmlns:a16="http://schemas.microsoft.com/office/drawing/2014/main" id="{822A8039-CA81-174F-88E9-1E04AC287FF6}"/>
              </a:ext>
            </a:extLst>
          </p:cNvPr>
          <p:cNvGrpSpPr/>
          <p:nvPr/>
        </p:nvGrpSpPr>
        <p:grpSpPr>
          <a:xfrm>
            <a:off x="4719159" y="2767437"/>
            <a:ext cx="853440" cy="853440"/>
            <a:chOff x="4243624" y="656353"/>
            <a:chExt cx="640080" cy="640080"/>
          </a:xfrm>
        </p:grpSpPr>
        <p:sp>
          <p:nvSpPr>
            <p:cNvPr id="33" name="Oval 32">
              <a:extLst>
                <a:ext uri="{FF2B5EF4-FFF2-40B4-BE49-F238E27FC236}">
                  <a16:creationId xmlns:a16="http://schemas.microsoft.com/office/drawing/2014/main" id="{AB1FAA66-40C2-FA4D-9861-A670FB9E208D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243624" y="656353"/>
              <a:ext cx="640080" cy="64008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34" name="Graphic 11">
              <a:extLst>
                <a:ext uri="{FF2B5EF4-FFF2-40B4-BE49-F238E27FC236}">
                  <a16:creationId xmlns:a16="http://schemas.microsoft.com/office/drawing/2014/main" id="{A00F4B55-B70E-5444-A1F3-54D8708EE856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378703" y="775225"/>
              <a:ext cx="369923" cy="402336"/>
            </a:xfrm>
            <a:custGeom>
              <a:avLst/>
              <a:gdLst>
                <a:gd name="connsiteX0" fmla="*/ 143627 w 158948"/>
                <a:gd name="connsiteY0" fmla="*/ 106291 h 172875"/>
                <a:gd name="connsiteX1" fmla="*/ 139960 w 158948"/>
                <a:gd name="connsiteY1" fmla="*/ 104458 h 172875"/>
                <a:gd name="connsiteX2" fmla="*/ 127736 w 158948"/>
                <a:gd name="connsiteY2" fmla="*/ 99571 h 172875"/>
                <a:gd name="connsiteX3" fmla="*/ 127736 w 158948"/>
                <a:gd name="connsiteY3" fmla="*/ 99571 h 172875"/>
                <a:gd name="connsiteX4" fmla="*/ 124680 w 158948"/>
                <a:gd name="connsiteY4" fmla="*/ 98350 h 172875"/>
                <a:gd name="connsiteX5" fmla="*/ 116735 w 158948"/>
                <a:gd name="connsiteY5" fmla="*/ 95906 h 172875"/>
                <a:gd name="connsiteX6" fmla="*/ 106956 w 158948"/>
                <a:gd name="connsiteY6" fmla="*/ 93463 h 172875"/>
                <a:gd name="connsiteX7" fmla="*/ 101456 w 158948"/>
                <a:gd name="connsiteY7" fmla="*/ 83689 h 172875"/>
                <a:gd name="connsiteX8" fmla="*/ 124069 w 158948"/>
                <a:gd name="connsiteY8" fmla="*/ 44593 h 172875"/>
                <a:gd name="connsiteX9" fmla="*/ 79453 w 158948"/>
                <a:gd name="connsiteY9" fmla="*/ 0 h 172875"/>
                <a:gd name="connsiteX10" fmla="*/ 34837 w 158948"/>
                <a:gd name="connsiteY10" fmla="*/ 44593 h 172875"/>
                <a:gd name="connsiteX11" fmla="*/ 57451 w 158948"/>
                <a:gd name="connsiteY11" fmla="*/ 83689 h 172875"/>
                <a:gd name="connsiteX12" fmla="*/ 51950 w 158948"/>
                <a:gd name="connsiteY12" fmla="*/ 94074 h 172875"/>
                <a:gd name="connsiteX13" fmla="*/ 42171 w 158948"/>
                <a:gd name="connsiteY13" fmla="*/ 95906 h 172875"/>
                <a:gd name="connsiteX14" fmla="*/ 34226 w 158948"/>
                <a:gd name="connsiteY14" fmla="*/ 98350 h 172875"/>
                <a:gd name="connsiteX15" fmla="*/ 28726 w 158948"/>
                <a:gd name="connsiteY15" fmla="*/ 100182 h 172875"/>
                <a:gd name="connsiteX16" fmla="*/ 28726 w 158948"/>
                <a:gd name="connsiteY16" fmla="*/ 100182 h 172875"/>
                <a:gd name="connsiteX17" fmla="*/ 23225 w 158948"/>
                <a:gd name="connsiteY17" fmla="*/ 102626 h 172875"/>
                <a:gd name="connsiteX18" fmla="*/ 23225 w 158948"/>
                <a:gd name="connsiteY18" fmla="*/ 102626 h 172875"/>
                <a:gd name="connsiteX19" fmla="*/ 15891 w 158948"/>
                <a:gd name="connsiteY19" fmla="*/ 106291 h 172875"/>
                <a:gd name="connsiteX20" fmla="*/ 0 w 158948"/>
                <a:gd name="connsiteY20" fmla="*/ 132558 h 172875"/>
                <a:gd name="connsiteX21" fmla="*/ 0 w 158948"/>
                <a:gd name="connsiteY21" fmla="*/ 140499 h 172875"/>
                <a:gd name="connsiteX22" fmla="*/ 10390 w 158948"/>
                <a:gd name="connsiteY22" fmla="*/ 158215 h 172875"/>
                <a:gd name="connsiteX23" fmla="*/ 79453 w 158948"/>
                <a:gd name="connsiteY23" fmla="*/ 172875 h 172875"/>
                <a:gd name="connsiteX24" fmla="*/ 148517 w 158948"/>
                <a:gd name="connsiteY24" fmla="*/ 158215 h 172875"/>
                <a:gd name="connsiteX25" fmla="*/ 158907 w 158948"/>
                <a:gd name="connsiteY25" fmla="*/ 140499 h 172875"/>
                <a:gd name="connsiteX26" fmla="*/ 158907 w 158948"/>
                <a:gd name="connsiteY26" fmla="*/ 132558 h 172875"/>
                <a:gd name="connsiteX27" fmla="*/ 143627 w 158948"/>
                <a:gd name="connsiteY27" fmla="*/ 106291 h 172875"/>
                <a:gd name="connsiteX28" fmla="*/ 40338 w 158948"/>
                <a:gd name="connsiteY28" fmla="*/ 45204 h 172875"/>
                <a:gd name="connsiteX29" fmla="*/ 80064 w 158948"/>
                <a:gd name="connsiteY29" fmla="*/ 5498 h 172875"/>
                <a:gd name="connsiteX30" fmla="*/ 119791 w 158948"/>
                <a:gd name="connsiteY30" fmla="*/ 45204 h 172875"/>
                <a:gd name="connsiteX31" fmla="*/ 80064 w 158948"/>
                <a:gd name="connsiteY31" fmla="*/ 84911 h 172875"/>
                <a:gd name="connsiteX32" fmla="*/ 40338 w 158948"/>
                <a:gd name="connsiteY32" fmla="*/ 45204 h 172875"/>
                <a:gd name="connsiteX33" fmla="*/ 54395 w 158948"/>
                <a:gd name="connsiteY33" fmla="*/ 100182 h 172875"/>
                <a:gd name="connsiteX34" fmla="*/ 54395 w 158948"/>
                <a:gd name="connsiteY34" fmla="*/ 100182 h 172875"/>
                <a:gd name="connsiteX35" fmla="*/ 54395 w 158948"/>
                <a:gd name="connsiteY35" fmla="*/ 100182 h 172875"/>
                <a:gd name="connsiteX36" fmla="*/ 55006 w 158948"/>
                <a:gd name="connsiteY36" fmla="*/ 100182 h 172875"/>
                <a:gd name="connsiteX37" fmla="*/ 55617 w 158948"/>
                <a:gd name="connsiteY37" fmla="*/ 99571 h 172875"/>
                <a:gd name="connsiteX38" fmla="*/ 55617 w 158948"/>
                <a:gd name="connsiteY38" fmla="*/ 99571 h 172875"/>
                <a:gd name="connsiteX39" fmla="*/ 62951 w 158948"/>
                <a:gd name="connsiteY39" fmla="*/ 87354 h 172875"/>
                <a:gd name="connsiteX40" fmla="*/ 79453 w 158948"/>
                <a:gd name="connsiteY40" fmla="*/ 90408 h 172875"/>
                <a:gd name="connsiteX41" fmla="*/ 95955 w 158948"/>
                <a:gd name="connsiteY41" fmla="*/ 87354 h 172875"/>
                <a:gd name="connsiteX42" fmla="*/ 103289 w 158948"/>
                <a:gd name="connsiteY42" fmla="*/ 99571 h 172875"/>
                <a:gd name="connsiteX43" fmla="*/ 103289 w 158948"/>
                <a:gd name="connsiteY43" fmla="*/ 99571 h 172875"/>
                <a:gd name="connsiteX44" fmla="*/ 103901 w 158948"/>
                <a:gd name="connsiteY44" fmla="*/ 100182 h 172875"/>
                <a:gd name="connsiteX45" fmla="*/ 104512 w 158948"/>
                <a:gd name="connsiteY45" fmla="*/ 100182 h 172875"/>
                <a:gd name="connsiteX46" fmla="*/ 104512 w 158948"/>
                <a:gd name="connsiteY46" fmla="*/ 100182 h 172875"/>
                <a:gd name="connsiteX47" fmla="*/ 108179 w 158948"/>
                <a:gd name="connsiteY47" fmla="*/ 100793 h 172875"/>
                <a:gd name="connsiteX48" fmla="*/ 79453 w 158948"/>
                <a:gd name="connsiteY48" fmla="*/ 119730 h 172875"/>
                <a:gd name="connsiteX49" fmla="*/ 50728 w 158948"/>
                <a:gd name="connsiteY49" fmla="*/ 101404 h 172875"/>
                <a:gd name="connsiteX50" fmla="*/ 54395 w 158948"/>
                <a:gd name="connsiteY50" fmla="*/ 100182 h 172875"/>
                <a:gd name="connsiteX51" fmla="*/ 146072 w 158948"/>
                <a:gd name="connsiteY51" fmla="*/ 153939 h 172875"/>
                <a:gd name="connsiteX52" fmla="*/ 79453 w 158948"/>
                <a:gd name="connsiteY52" fmla="*/ 167988 h 172875"/>
                <a:gd name="connsiteX53" fmla="*/ 12835 w 158948"/>
                <a:gd name="connsiteY53" fmla="*/ 153939 h 172875"/>
                <a:gd name="connsiteX54" fmla="*/ 5500 w 158948"/>
                <a:gd name="connsiteY54" fmla="*/ 141110 h 172875"/>
                <a:gd name="connsiteX55" fmla="*/ 5500 w 158948"/>
                <a:gd name="connsiteY55" fmla="*/ 133169 h 172875"/>
                <a:gd name="connsiteX56" fmla="*/ 18335 w 158948"/>
                <a:gd name="connsiteY56" fmla="*/ 111789 h 172875"/>
                <a:gd name="connsiteX57" fmla="*/ 35448 w 158948"/>
                <a:gd name="connsiteY57" fmla="*/ 104458 h 172875"/>
                <a:gd name="connsiteX58" fmla="*/ 43394 w 158948"/>
                <a:gd name="connsiteY58" fmla="*/ 102015 h 172875"/>
                <a:gd name="connsiteX59" fmla="*/ 44616 w 158948"/>
                <a:gd name="connsiteY59" fmla="*/ 102015 h 172875"/>
                <a:gd name="connsiteX60" fmla="*/ 78842 w 158948"/>
                <a:gd name="connsiteY60" fmla="*/ 125228 h 172875"/>
                <a:gd name="connsiteX61" fmla="*/ 113068 w 158948"/>
                <a:gd name="connsiteY61" fmla="*/ 102015 h 172875"/>
                <a:gd name="connsiteX62" fmla="*/ 114291 w 158948"/>
                <a:gd name="connsiteY62" fmla="*/ 102626 h 172875"/>
                <a:gd name="connsiteX63" fmla="*/ 122236 w 158948"/>
                <a:gd name="connsiteY63" fmla="*/ 105069 h 172875"/>
                <a:gd name="connsiteX64" fmla="*/ 139349 w 158948"/>
                <a:gd name="connsiteY64" fmla="*/ 112400 h 172875"/>
                <a:gd name="connsiteX65" fmla="*/ 152184 w 158948"/>
                <a:gd name="connsiteY65" fmla="*/ 133780 h 172875"/>
                <a:gd name="connsiteX66" fmla="*/ 152184 w 158948"/>
                <a:gd name="connsiteY66" fmla="*/ 141721 h 172875"/>
                <a:gd name="connsiteX67" fmla="*/ 146072 w 158948"/>
                <a:gd name="connsiteY67" fmla="*/ 153939 h 172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158948" h="172875">
                  <a:moveTo>
                    <a:pt x="143627" y="106291"/>
                  </a:moveTo>
                  <a:cubicBezTo>
                    <a:pt x="142405" y="105680"/>
                    <a:pt x="141182" y="105069"/>
                    <a:pt x="139960" y="104458"/>
                  </a:cubicBezTo>
                  <a:cubicBezTo>
                    <a:pt x="136904" y="102626"/>
                    <a:pt x="127736" y="99571"/>
                    <a:pt x="127736" y="99571"/>
                  </a:cubicBezTo>
                  <a:lnTo>
                    <a:pt x="127736" y="99571"/>
                  </a:lnTo>
                  <a:cubicBezTo>
                    <a:pt x="126514" y="98961"/>
                    <a:pt x="125903" y="98961"/>
                    <a:pt x="124680" y="98350"/>
                  </a:cubicBezTo>
                  <a:cubicBezTo>
                    <a:pt x="121625" y="97128"/>
                    <a:pt x="119180" y="96517"/>
                    <a:pt x="116735" y="95906"/>
                  </a:cubicBezTo>
                  <a:cubicBezTo>
                    <a:pt x="113679" y="94684"/>
                    <a:pt x="110012" y="94074"/>
                    <a:pt x="106956" y="93463"/>
                  </a:cubicBezTo>
                  <a:cubicBezTo>
                    <a:pt x="104512" y="91019"/>
                    <a:pt x="102678" y="87354"/>
                    <a:pt x="101456" y="83689"/>
                  </a:cubicBezTo>
                  <a:cubicBezTo>
                    <a:pt x="114902" y="75748"/>
                    <a:pt x="124069" y="61698"/>
                    <a:pt x="124069" y="44593"/>
                  </a:cubicBezTo>
                  <a:cubicBezTo>
                    <a:pt x="124069" y="20159"/>
                    <a:pt x="103901" y="0"/>
                    <a:pt x="79453" y="0"/>
                  </a:cubicBezTo>
                  <a:cubicBezTo>
                    <a:pt x="55006" y="0"/>
                    <a:pt x="34837" y="20159"/>
                    <a:pt x="34837" y="44593"/>
                  </a:cubicBezTo>
                  <a:cubicBezTo>
                    <a:pt x="34837" y="61087"/>
                    <a:pt x="44005" y="75748"/>
                    <a:pt x="57451" y="83689"/>
                  </a:cubicBezTo>
                  <a:cubicBezTo>
                    <a:pt x="56229" y="87354"/>
                    <a:pt x="54395" y="91019"/>
                    <a:pt x="51950" y="94074"/>
                  </a:cubicBezTo>
                  <a:cubicBezTo>
                    <a:pt x="45838" y="95295"/>
                    <a:pt x="42171" y="95906"/>
                    <a:pt x="42171" y="95906"/>
                  </a:cubicBezTo>
                  <a:cubicBezTo>
                    <a:pt x="39727" y="96517"/>
                    <a:pt x="37282" y="97128"/>
                    <a:pt x="34226" y="98350"/>
                  </a:cubicBezTo>
                  <a:cubicBezTo>
                    <a:pt x="32392" y="98961"/>
                    <a:pt x="30559" y="99571"/>
                    <a:pt x="28726" y="100182"/>
                  </a:cubicBezTo>
                  <a:cubicBezTo>
                    <a:pt x="28726" y="100182"/>
                    <a:pt x="28726" y="100182"/>
                    <a:pt x="28726" y="100182"/>
                  </a:cubicBezTo>
                  <a:cubicBezTo>
                    <a:pt x="26892" y="100793"/>
                    <a:pt x="25058" y="102015"/>
                    <a:pt x="23225" y="102626"/>
                  </a:cubicBezTo>
                  <a:cubicBezTo>
                    <a:pt x="23225" y="102626"/>
                    <a:pt x="23225" y="102626"/>
                    <a:pt x="23225" y="102626"/>
                  </a:cubicBezTo>
                  <a:cubicBezTo>
                    <a:pt x="20780" y="103847"/>
                    <a:pt x="18335" y="105069"/>
                    <a:pt x="15891" y="106291"/>
                  </a:cubicBezTo>
                  <a:cubicBezTo>
                    <a:pt x="6112" y="111178"/>
                    <a:pt x="0" y="121563"/>
                    <a:pt x="0" y="132558"/>
                  </a:cubicBezTo>
                  <a:lnTo>
                    <a:pt x="0" y="140499"/>
                  </a:lnTo>
                  <a:cubicBezTo>
                    <a:pt x="0" y="147830"/>
                    <a:pt x="4278" y="154549"/>
                    <a:pt x="10390" y="158215"/>
                  </a:cubicBezTo>
                  <a:cubicBezTo>
                    <a:pt x="22614" y="164934"/>
                    <a:pt x="45227" y="172875"/>
                    <a:pt x="79453" y="172875"/>
                  </a:cubicBezTo>
                  <a:cubicBezTo>
                    <a:pt x="113679" y="172875"/>
                    <a:pt x="136293" y="164934"/>
                    <a:pt x="148517" y="158215"/>
                  </a:cubicBezTo>
                  <a:cubicBezTo>
                    <a:pt x="155239" y="154549"/>
                    <a:pt x="158907" y="147830"/>
                    <a:pt x="158907" y="140499"/>
                  </a:cubicBezTo>
                  <a:lnTo>
                    <a:pt x="158907" y="132558"/>
                  </a:lnTo>
                  <a:cubicBezTo>
                    <a:pt x="159518" y="121563"/>
                    <a:pt x="153406" y="111789"/>
                    <a:pt x="143627" y="106291"/>
                  </a:cubicBezTo>
                  <a:close/>
                  <a:moveTo>
                    <a:pt x="40338" y="45204"/>
                  </a:moveTo>
                  <a:cubicBezTo>
                    <a:pt x="40338" y="23213"/>
                    <a:pt x="58062" y="5498"/>
                    <a:pt x="80064" y="5498"/>
                  </a:cubicBezTo>
                  <a:cubicBezTo>
                    <a:pt x="102067" y="5498"/>
                    <a:pt x="119791" y="23213"/>
                    <a:pt x="119791" y="45204"/>
                  </a:cubicBezTo>
                  <a:cubicBezTo>
                    <a:pt x="119791" y="67195"/>
                    <a:pt x="102067" y="84911"/>
                    <a:pt x="80064" y="84911"/>
                  </a:cubicBezTo>
                  <a:cubicBezTo>
                    <a:pt x="58062" y="84911"/>
                    <a:pt x="40338" y="67195"/>
                    <a:pt x="40338" y="45204"/>
                  </a:cubicBezTo>
                  <a:close/>
                  <a:moveTo>
                    <a:pt x="54395" y="100182"/>
                  </a:moveTo>
                  <a:lnTo>
                    <a:pt x="54395" y="100182"/>
                  </a:lnTo>
                  <a:cubicBezTo>
                    <a:pt x="55006" y="100182"/>
                    <a:pt x="55006" y="100182"/>
                    <a:pt x="54395" y="100182"/>
                  </a:cubicBezTo>
                  <a:cubicBezTo>
                    <a:pt x="55006" y="100182"/>
                    <a:pt x="55006" y="100182"/>
                    <a:pt x="55006" y="100182"/>
                  </a:cubicBezTo>
                  <a:lnTo>
                    <a:pt x="55617" y="99571"/>
                  </a:lnTo>
                  <a:cubicBezTo>
                    <a:pt x="55617" y="99571"/>
                    <a:pt x="55617" y="99571"/>
                    <a:pt x="55617" y="99571"/>
                  </a:cubicBezTo>
                  <a:cubicBezTo>
                    <a:pt x="59285" y="95906"/>
                    <a:pt x="61729" y="91630"/>
                    <a:pt x="62951" y="87354"/>
                  </a:cubicBezTo>
                  <a:cubicBezTo>
                    <a:pt x="67841" y="89187"/>
                    <a:pt x="73342" y="90408"/>
                    <a:pt x="79453" y="90408"/>
                  </a:cubicBezTo>
                  <a:cubicBezTo>
                    <a:pt x="85565" y="90408"/>
                    <a:pt x="91066" y="89187"/>
                    <a:pt x="95955" y="87354"/>
                  </a:cubicBezTo>
                  <a:cubicBezTo>
                    <a:pt x="97177" y="91630"/>
                    <a:pt x="99622" y="95906"/>
                    <a:pt x="103289" y="99571"/>
                  </a:cubicBezTo>
                  <a:cubicBezTo>
                    <a:pt x="103289" y="99571"/>
                    <a:pt x="103289" y="99571"/>
                    <a:pt x="103289" y="99571"/>
                  </a:cubicBezTo>
                  <a:cubicBezTo>
                    <a:pt x="103289" y="99571"/>
                    <a:pt x="103901" y="99571"/>
                    <a:pt x="103901" y="100182"/>
                  </a:cubicBezTo>
                  <a:cubicBezTo>
                    <a:pt x="103901" y="100182"/>
                    <a:pt x="104512" y="100182"/>
                    <a:pt x="104512" y="100182"/>
                  </a:cubicBezTo>
                  <a:cubicBezTo>
                    <a:pt x="104512" y="100182"/>
                    <a:pt x="104512" y="100182"/>
                    <a:pt x="104512" y="100182"/>
                  </a:cubicBezTo>
                  <a:cubicBezTo>
                    <a:pt x="105734" y="100182"/>
                    <a:pt x="106956" y="100793"/>
                    <a:pt x="108179" y="100793"/>
                  </a:cubicBezTo>
                  <a:cubicBezTo>
                    <a:pt x="106956" y="111178"/>
                    <a:pt x="94733" y="119730"/>
                    <a:pt x="79453" y="119730"/>
                  </a:cubicBezTo>
                  <a:cubicBezTo>
                    <a:pt x="64174" y="119730"/>
                    <a:pt x="52561" y="111789"/>
                    <a:pt x="50728" y="101404"/>
                  </a:cubicBezTo>
                  <a:cubicBezTo>
                    <a:pt x="51950" y="100182"/>
                    <a:pt x="53173" y="100182"/>
                    <a:pt x="54395" y="100182"/>
                  </a:cubicBezTo>
                  <a:close/>
                  <a:moveTo>
                    <a:pt x="146072" y="153939"/>
                  </a:moveTo>
                  <a:cubicBezTo>
                    <a:pt x="136293" y="159436"/>
                    <a:pt x="114902" y="167988"/>
                    <a:pt x="79453" y="167988"/>
                  </a:cubicBezTo>
                  <a:cubicBezTo>
                    <a:pt x="44616" y="167988"/>
                    <a:pt x="22614" y="159436"/>
                    <a:pt x="12835" y="153939"/>
                  </a:cubicBezTo>
                  <a:cubicBezTo>
                    <a:pt x="8556" y="151495"/>
                    <a:pt x="5500" y="146608"/>
                    <a:pt x="5500" y="141110"/>
                  </a:cubicBezTo>
                  <a:lnTo>
                    <a:pt x="5500" y="133169"/>
                  </a:lnTo>
                  <a:cubicBezTo>
                    <a:pt x="5500" y="124006"/>
                    <a:pt x="10390" y="116065"/>
                    <a:pt x="18335" y="111789"/>
                  </a:cubicBezTo>
                  <a:cubicBezTo>
                    <a:pt x="23836" y="108734"/>
                    <a:pt x="29948" y="106291"/>
                    <a:pt x="35448" y="104458"/>
                  </a:cubicBezTo>
                  <a:cubicBezTo>
                    <a:pt x="38504" y="103237"/>
                    <a:pt x="40949" y="102626"/>
                    <a:pt x="43394" y="102015"/>
                  </a:cubicBezTo>
                  <a:lnTo>
                    <a:pt x="44616" y="102015"/>
                  </a:lnTo>
                  <a:cubicBezTo>
                    <a:pt x="47061" y="114843"/>
                    <a:pt x="61729" y="125228"/>
                    <a:pt x="78842" y="125228"/>
                  </a:cubicBezTo>
                  <a:cubicBezTo>
                    <a:pt x="95955" y="125228"/>
                    <a:pt x="110623" y="114843"/>
                    <a:pt x="113068" y="102015"/>
                  </a:cubicBezTo>
                  <a:cubicBezTo>
                    <a:pt x="113679" y="102015"/>
                    <a:pt x="113679" y="102015"/>
                    <a:pt x="114291" y="102626"/>
                  </a:cubicBezTo>
                  <a:cubicBezTo>
                    <a:pt x="116735" y="103237"/>
                    <a:pt x="119180" y="103847"/>
                    <a:pt x="122236" y="105069"/>
                  </a:cubicBezTo>
                  <a:cubicBezTo>
                    <a:pt x="128348" y="106902"/>
                    <a:pt x="133848" y="109345"/>
                    <a:pt x="139349" y="112400"/>
                  </a:cubicBezTo>
                  <a:cubicBezTo>
                    <a:pt x="147294" y="116676"/>
                    <a:pt x="152184" y="124617"/>
                    <a:pt x="152184" y="133780"/>
                  </a:cubicBezTo>
                  <a:lnTo>
                    <a:pt x="152184" y="141721"/>
                  </a:lnTo>
                  <a:cubicBezTo>
                    <a:pt x="153406" y="146608"/>
                    <a:pt x="150962" y="150884"/>
                    <a:pt x="146072" y="153939"/>
                  </a:cubicBezTo>
                  <a:close/>
                </a:path>
              </a:pathLst>
            </a:custGeom>
            <a:solidFill>
              <a:srgbClr val="2473B9"/>
            </a:solidFill>
            <a:ln w="61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</p:grpSp>
      <p:grpSp>
        <p:nvGrpSpPr>
          <p:cNvPr id="35" name="Group 34">
            <a:extLst>
              <a:ext uri="{FF2B5EF4-FFF2-40B4-BE49-F238E27FC236}">
                <a16:creationId xmlns:a16="http://schemas.microsoft.com/office/drawing/2014/main" id="{616DDE80-589F-2D4E-ACDB-71C06D045BC2}"/>
              </a:ext>
            </a:extLst>
          </p:cNvPr>
          <p:cNvGrpSpPr/>
          <p:nvPr/>
        </p:nvGrpSpPr>
        <p:grpSpPr>
          <a:xfrm>
            <a:off x="846452" y="2767437"/>
            <a:ext cx="853440" cy="853440"/>
            <a:chOff x="4243624" y="656353"/>
            <a:chExt cx="640080" cy="640080"/>
          </a:xfrm>
        </p:grpSpPr>
        <p:sp>
          <p:nvSpPr>
            <p:cNvPr id="36" name="Oval 35">
              <a:extLst>
                <a:ext uri="{FF2B5EF4-FFF2-40B4-BE49-F238E27FC236}">
                  <a16:creationId xmlns:a16="http://schemas.microsoft.com/office/drawing/2014/main" id="{502D7C77-0B94-234D-B81C-344D1902420E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243624" y="656353"/>
              <a:ext cx="640080" cy="64008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37" name="Graphic 11">
              <a:extLst>
                <a:ext uri="{FF2B5EF4-FFF2-40B4-BE49-F238E27FC236}">
                  <a16:creationId xmlns:a16="http://schemas.microsoft.com/office/drawing/2014/main" id="{64797636-B313-434A-B11E-6B4BE4216172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378703" y="775225"/>
              <a:ext cx="369923" cy="402336"/>
            </a:xfrm>
            <a:custGeom>
              <a:avLst/>
              <a:gdLst>
                <a:gd name="connsiteX0" fmla="*/ 143627 w 158948"/>
                <a:gd name="connsiteY0" fmla="*/ 106291 h 172875"/>
                <a:gd name="connsiteX1" fmla="*/ 139960 w 158948"/>
                <a:gd name="connsiteY1" fmla="*/ 104458 h 172875"/>
                <a:gd name="connsiteX2" fmla="*/ 127736 w 158948"/>
                <a:gd name="connsiteY2" fmla="*/ 99571 h 172875"/>
                <a:gd name="connsiteX3" fmla="*/ 127736 w 158948"/>
                <a:gd name="connsiteY3" fmla="*/ 99571 h 172875"/>
                <a:gd name="connsiteX4" fmla="*/ 124680 w 158948"/>
                <a:gd name="connsiteY4" fmla="*/ 98350 h 172875"/>
                <a:gd name="connsiteX5" fmla="*/ 116735 w 158948"/>
                <a:gd name="connsiteY5" fmla="*/ 95906 h 172875"/>
                <a:gd name="connsiteX6" fmla="*/ 106956 w 158948"/>
                <a:gd name="connsiteY6" fmla="*/ 93463 h 172875"/>
                <a:gd name="connsiteX7" fmla="*/ 101456 w 158948"/>
                <a:gd name="connsiteY7" fmla="*/ 83689 h 172875"/>
                <a:gd name="connsiteX8" fmla="*/ 124069 w 158948"/>
                <a:gd name="connsiteY8" fmla="*/ 44593 h 172875"/>
                <a:gd name="connsiteX9" fmla="*/ 79453 w 158948"/>
                <a:gd name="connsiteY9" fmla="*/ 0 h 172875"/>
                <a:gd name="connsiteX10" fmla="*/ 34837 w 158948"/>
                <a:gd name="connsiteY10" fmla="*/ 44593 h 172875"/>
                <a:gd name="connsiteX11" fmla="*/ 57451 w 158948"/>
                <a:gd name="connsiteY11" fmla="*/ 83689 h 172875"/>
                <a:gd name="connsiteX12" fmla="*/ 51950 w 158948"/>
                <a:gd name="connsiteY12" fmla="*/ 94074 h 172875"/>
                <a:gd name="connsiteX13" fmla="*/ 42171 w 158948"/>
                <a:gd name="connsiteY13" fmla="*/ 95906 h 172875"/>
                <a:gd name="connsiteX14" fmla="*/ 34226 w 158948"/>
                <a:gd name="connsiteY14" fmla="*/ 98350 h 172875"/>
                <a:gd name="connsiteX15" fmla="*/ 28726 w 158948"/>
                <a:gd name="connsiteY15" fmla="*/ 100182 h 172875"/>
                <a:gd name="connsiteX16" fmla="*/ 28726 w 158948"/>
                <a:gd name="connsiteY16" fmla="*/ 100182 h 172875"/>
                <a:gd name="connsiteX17" fmla="*/ 23225 w 158948"/>
                <a:gd name="connsiteY17" fmla="*/ 102626 h 172875"/>
                <a:gd name="connsiteX18" fmla="*/ 23225 w 158948"/>
                <a:gd name="connsiteY18" fmla="*/ 102626 h 172875"/>
                <a:gd name="connsiteX19" fmla="*/ 15891 w 158948"/>
                <a:gd name="connsiteY19" fmla="*/ 106291 h 172875"/>
                <a:gd name="connsiteX20" fmla="*/ 0 w 158948"/>
                <a:gd name="connsiteY20" fmla="*/ 132558 h 172875"/>
                <a:gd name="connsiteX21" fmla="*/ 0 w 158948"/>
                <a:gd name="connsiteY21" fmla="*/ 140499 h 172875"/>
                <a:gd name="connsiteX22" fmla="*/ 10390 w 158948"/>
                <a:gd name="connsiteY22" fmla="*/ 158215 h 172875"/>
                <a:gd name="connsiteX23" fmla="*/ 79453 w 158948"/>
                <a:gd name="connsiteY23" fmla="*/ 172875 h 172875"/>
                <a:gd name="connsiteX24" fmla="*/ 148517 w 158948"/>
                <a:gd name="connsiteY24" fmla="*/ 158215 h 172875"/>
                <a:gd name="connsiteX25" fmla="*/ 158907 w 158948"/>
                <a:gd name="connsiteY25" fmla="*/ 140499 h 172875"/>
                <a:gd name="connsiteX26" fmla="*/ 158907 w 158948"/>
                <a:gd name="connsiteY26" fmla="*/ 132558 h 172875"/>
                <a:gd name="connsiteX27" fmla="*/ 143627 w 158948"/>
                <a:gd name="connsiteY27" fmla="*/ 106291 h 172875"/>
                <a:gd name="connsiteX28" fmla="*/ 40338 w 158948"/>
                <a:gd name="connsiteY28" fmla="*/ 45204 h 172875"/>
                <a:gd name="connsiteX29" fmla="*/ 80064 w 158948"/>
                <a:gd name="connsiteY29" fmla="*/ 5498 h 172875"/>
                <a:gd name="connsiteX30" fmla="*/ 119791 w 158948"/>
                <a:gd name="connsiteY30" fmla="*/ 45204 h 172875"/>
                <a:gd name="connsiteX31" fmla="*/ 80064 w 158948"/>
                <a:gd name="connsiteY31" fmla="*/ 84911 h 172875"/>
                <a:gd name="connsiteX32" fmla="*/ 40338 w 158948"/>
                <a:gd name="connsiteY32" fmla="*/ 45204 h 172875"/>
                <a:gd name="connsiteX33" fmla="*/ 54395 w 158948"/>
                <a:gd name="connsiteY33" fmla="*/ 100182 h 172875"/>
                <a:gd name="connsiteX34" fmla="*/ 54395 w 158948"/>
                <a:gd name="connsiteY34" fmla="*/ 100182 h 172875"/>
                <a:gd name="connsiteX35" fmla="*/ 54395 w 158948"/>
                <a:gd name="connsiteY35" fmla="*/ 100182 h 172875"/>
                <a:gd name="connsiteX36" fmla="*/ 55006 w 158948"/>
                <a:gd name="connsiteY36" fmla="*/ 100182 h 172875"/>
                <a:gd name="connsiteX37" fmla="*/ 55617 w 158948"/>
                <a:gd name="connsiteY37" fmla="*/ 99571 h 172875"/>
                <a:gd name="connsiteX38" fmla="*/ 55617 w 158948"/>
                <a:gd name="connsiteY38" fmla="*/ 99571 h 172875"/>
                <a:gd name="connsiteX39" fmla="*/ 62951 w 158948"/>
                <a:gd name="connsiteY39" fmla="*/ 87354 h 172875"/>
                <a:gd name="connsiteX40" fmla="*/ 79453 w 158948"/>
                <a:gd name="connsiteY40" fmla="*/ 90408 h 172875"/>
                <a:gd name="connsiteX41" fmla="*/ 95955 w 158948"/>
                <a:gd name="connsiteY41" fmla="*/ 87354 h 172875"/>
                <a:gd name="connsiteX42" fmla="*/ 103289 w 158948"/>
                <a:gd name="connsiteY42" fmla="*/ 99571 h 172875"/>
                <a:gd name="connsiteX43" fmla="*/ 103289 w 158948"/>
                <a:gd name="connsiteY43" fmla="*/ 99571 h 172875"/>
                <a:gd name="connsiteX44" fmla="*/ 103901 w 158948"/>
                <a:gd name="connsiteY44" fmla="*/ 100182 h 172875"/>
                <a:gd name="connsiteX45" fmla="*/ 104512 w 158948"/>
                <a:gd name="connsiteY45" fmla="*/ 100182 h 172875"/>
                <a:gd name="connsiteX46" fmla="*/ 104512 w 158948"/>
                <a:gd name="connsiteY46" fmla="*/ 100182 h 172875"/>
                <a:gd name="connsiteX47" fmla="*/ 108179 w 158948"/>
                <a:gd name="connsiteY47" fmla="*/ 100793 h 172875"/>
                <a:gd name="connsiteX48" fmla="*/ 79453 w 158948"/>
                <a:gd name="connsiteY48" fmla="*/ 119730 h 172875"/>
                <a:gd name="connsiteX49" fmla="*/ 50728 w 158948"/>
                <a:gd name="connsiteY49" fmla="*/ 101404 h 172875"/>
                <a:gd name="connsiteX50" fmla="*/ 54395 w 158948"/>
                <a:gd name="connsiteY50" fmla="*/ 100182 h 172875"/>
                <a:gd name="connsiteX51" fmla="*/ 146072 w 158948"/>
                <a:gd name="connsiteY51" fmla="*/ 153939 h 172875"/>
                <a:gd name="connsiteX52" fmla="*/ 79453 w 158948"/>
                <a:gd name="connsiteY52" fmla="*/ 167988 h 172875"/>
                <a:gd name="connsiteX53" fmla="*/ 12835 w 158948"/>
                <a:gd name="connsiteY53" fmla="*/ 153939 h 172875"/>
                <a:gd name="connsiteX54" fmla="*/ 5500 w 158948"/>
                <a:gd name="connsiteY54" fmla="*/ 141110 h 172875"/>
                <a:gd name="connsiteX55" fmla="*/ 5500 w 158948"/>
                <a:gd name="connsiteY55" fmla="*/ 133169 h 172875"/>
                <a:gd name="connsiteX56" fmla="*/ 18335 w 158948"/>
                <a:gd name="connsiteY56" fmla="*/ 111789 h 172875"/>
                <a:gd name="connsiteX57" fmla="*/ 35448 w 158948"/>
                <a:gd name="connsiteY57" fmla="*/ 104458 h 172875"/>
                <a:gd name="connsiteX58" fmla="*/ 43394 w 158948"/>
                <a:gd name="connsiteY58" fmla="*/ 102015 h 172875"/>
                <a:gd name="connsiteX59" fmla="*/ 44616 w 158948"/>
                <a:gd name="connsiteY59" fmla="*/ 102015 h 172875"/>
                <a:gd name="connsiteX60" fmla="*/ 78842 w 158948"/>
                <a:gd name="connsiteY60" fmla="*/ 125228 h 172875"/>
                <a:gd name="connsiteX61" fmla="*/ 113068 w 158948"/>
                <a:gd name="connsiteY61" fmla="*/ 102015 h 172875"/>
                <a:gd name="connsiteX62" fmla="*/ 114291 w 158948"/>
                <a:gd name="connsiteY62" fmla="*/ 102626 h 172875"/>
                <a:gd name="connsiteX63" fmla="*/ 122236 w 158948"/>
                <a:gd name="connsiteY63" fmla="*/ 105069 h 172875"/>
                <a:gd name="connsiteX64" fmla="*/ 139349 w 158948"/>
                <a:gd name="connsiteY64" fmla="*/ 112400 h 172875"/>
                <a:gd name="connsiteX65" fmla="*/ 152184 w 158948"/>
                <a:gd name="connsiteY65" fmla="*/ 133780 h 172875"/>
                <a:gd name="connsiteX66" fmla="*/ 152184 w 158948"/>
                <a:gd name="connsiteY66" fmla="*/ 141721 h 172875"/>
                <a:gd name="connsiteX67" fmla="*/ 146072 w 158948"/>
                <a:gd name="connsiteY67" fmla="*/ 153939 h 172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158948" h="172875">
                  <a:moveTo>
                    <a:pt x="143627" y="106291"/>
                  </a:moveTo>
                  <a:cubicBezTo>
                    <a:pt x="142405" y="105680"/>
                    <a:pt x="141182" y="105069"/>
                    <a:pt x="139960" y="104458"/>
                  </a:cubicBezTo>
                  <a:cubicBezTo>
                    <a:pt x="136904" y="102626"/>
                    <a:pt x="127736" y="99571"/>
                    <a:pt x="127736" y="99571"/>
                  </a:cubicBezTo>
                  <a:lnTo>
                    <a:pt x="127736" y="99571"/>
                  </a:lnTo>
                  <a:cubicBezTo>
                    <a:pt x="126514" y="98961"/>
                    <a:pt x="125903" y="98961"/>
                    <a:pt x="124680" y="98350"/>
                  </a:cubicBezTo>
                  <a:cubicBezTo>
                    <a:pt x="121625" y="97128"/>
                    <a:pt x="119180" y="96517"/>
                    <a:pt x="116735" y="95906"/>
                  </a:cubicBezTo>
                  <a:cubicBezTo>
                    <a:pt x="113679" y="94684"/>
                    <a:pt x="110012" y="94074"/>
                    <a:pt x="106956" y="93463"/>
                  </a:cubicBezTo>
                  <a:cubicBezTo>
                    <a:pt x="104512" y="91019"/>
                    <a:pt x="102678" y="87354"/>
                    <a:pt x="101456" y="83689"/>
                  </a:cubicBezTo>
                  <a:cubicBezTo>
                    <a:pt x="114902" y="75748"/>
                    <a:pt x="124069" y="61698"/>
                    <a:pt x="124069" y="44593"/>
                  </a:cubicBezTo>
                  <a:cubicBezTo>
                    <a:pt x="124069" y="20159"/>
                    <a:pt x="103901" y="0"/>
                    <a:pt x="79453" y="0"/>
                  </a:cubicBezTo>
                  <a:cubicBezTo>
                    <a:pt x="55006" y="0"/>
                    <a:pt x="34837" y="20159"/>
                    <a:pt x="34837" y="44593"/>
                  </a:cubicBezTo>
                  <a:cubicBezTo>
                    <a:pt x="34837" y="61087"/>
                    <a:pt x="44005" y="75748"/>
                    <a:pt x="57451" y="83689"/>
                  </a:cubicBezTo>
                  <a:cubicBezTo>
                    <a:pt x="56229" y="87354"/>
                    <a:pt x="54395" y="91019"/>
                    <a:pt x="51950" y="94074"/>
                  </a:cubicBezTo>
                  <a:cubicBezTo>
                    <a:pt x="45838" y="95295"/>
                    <a:pt x="42171" y="95906"/>
                    <a:pt x="42171" y="95906"/>
                  </a:cubicBezTo>
                  <a:cubicBezTo>
                    <a:pt x="39727" y="96517"/>
                    <a:pt x="37282" y="97128"/>
                    <a:pt x="34226" y="98350"/>
                  </a:cubicBezTo>
                  <a:cubicBezTo>
                    <a:pt x="32392" y="98961"/>
                    <a:pt x="30559" y="99571"/>
                    <a:pt x="28726" y="100182"/>
                  </a:cubicBezTo>
                  <a:cubicBezTo>
                    <a:pt x="28726" y="100182"/>
                    <a:pt x="28726" y="100182"/>
                    <a:pt x="28726" y="100182"/>
                  </a:cubicBezTo>
                  <a:cubicBezTo>
                    <a:pt x="26892" y="100793"/>
                    <a:pt x="25058" y="102015"/>
                    <a:pt x="23225" y="102626"/>
                  </a:cubicBezTo>
                  <a:cubicBezTo>
                    <a:pt x="23225" y="102626"/>
                    <a:pt x="23225" y="102626"/>
                    <a:pt x="23225" y="102626"/>
                  </a:cubicBezTo>
                  <a:cubicBezTo>
                    <a:pt x="20780" y="103847"/>
                    <a:pt x="18335" y="105069"/>
                    <a:pt x="15891" y="106291"/>
                  </a:cubicBezTo>
                  <a:cubicBezTo>
                    <a:pt x="6112" y="111178"/>
                    <a:pt x="0" y="121563"/>
                    <a:pt x="0" y="132558"/>
                  </a:cubicBezTo>
                  <a:lnTo>
                    <a:pt x="0" y="140499"/>
                  </a:lnTo>
                  <a:cubicBezTo>
                    <a:pt x="0" y="147830"/>
                    <a:pt x="4278" y="154549"/>
                    <a:pt x="10390" y="158215"/>
                  </a:cubicBezTo>
                  <a:cubicBezTo>
                    <a:pt x="22614" y="164934"/>
                    <a:pt x="45227" y="172875"/>
                    <a:pt x="79453" y="172875"/>
                  </a:cubicBezTo>
                  <a:cubicBezTo>
                    <a:pt x="113679" y="172875"/>
                    <a:pt x="136293" y="164934"/>
                    <a:pt x="148517" y="158215"/>
                  </a:cubicBezTo>
                  <a:cubicBezTo>
                    <a:pt x="155239" y="154549"/>
                    <a:pt x="158907" y="147830"/>
                    <a:pt x="158907" y="140499"/>
                  </a:cubicBezTo>
                  <a:lnTo>
                    <a:pt x="158907" y="132558"/>
                  </a:lnTo>
                  <a:cubicBezTo>
                    <a:pt x="159518" y="121563"/>
                    <a:pt x="153406" y="111789"/>
                    <a:pt x="143627" y="106291"/>
                  </a:cubicBezTo>
                  <a:close/>
                  <a:moveTo>
                    <a:pt x="40338" y="45204"/>
                  </a:moveTo>
                  <a:cubicBezTo>
                    <a:pt x="40338" y="23213"/>
                    <a:pt x="58062" y="5498"/>
                    <a:pt x="80064" y="5498"/>
                  </a:cubicBezTo>
                  <a:cubicBezTo>
                    <a:pt x="102067" y="5498"/>
                    <a:pt x="119791" y="23213"/>
                    <a:pt x="119791" y="45204"/>
                  </a:cubicBezTo>
                  <a:cubicBezTo>
                    <a:pt x="119791" y="67195"/>
                    <a:pt x="102067" y="84911"/>
                    <a:pt x="80064" y="84911"/>
                  </a:cubicBezTo>
                  <a:cubicBezTo>
                    <a:pt x="58062" y="84911"/>
                    <a:pt x="40338" y="67195"/>
                    <a:pt x="40338" y="45204"/>
                  </a:cubicBezTo>
                  <a:close/>
                  <a:moveTo>
                    <a:pt x="54395" y="100182"/>
                  </a:moveTo>
                  <a:lnTo>
                    <a:pt x="54395" y="100182"/>
                  </a:lnTo>
                  <a:cubicBezTo>
                    <a:pt x="55006" y="100182"/>
                    <a:pt x="55006" y="100182"/>
                    <a:pt x="54395" y="100182"/>
                  </a:cubicBezTo>
                  <a:cubicBezTo>
                    <a:pt x="55006" y="100182"/>
                    <a:pt x="55006" y="100182"/>
                    <a:pt x="55006" y="100182"/>
                  </a:cubicBezTo>
                  <a:lnTo>
                    <a:pt x="55617" y="99571"/>
                  </a:lnTo>
                  <a:cubicBezTo>
                    <a:pt x="55617" y="99571"/>
                    <a:pt x="55617" y="99571"/>
                    <a:pt x="55617" y="99571"/>
                  </a:cubicBezTo>
                  <a:cubicBezTo>
                    <a:pt x="59285" y="95906"/>
                    <a:pt x="61729" y="91630"/>
                    <a:pt x="62951" y="87354"/>
                  </a:cubicBezTo>
                  <a:cubicBezTo>
                    <a:pt x="67841" y="89187"/>
                    <a:pt x="73342" y="90408"/>
                    <a:pt x="79453" y="90408"/>
                  </a:cubicBezTo>
                  <a:cubicBezTo>
                    <a:pt x="85565" y="90408"/>
                    <a:pt x="91066" y="89187"/>
                    <a:pt x="95955" y="87354"/>
                  </a:cubicBezTo>
                  <a:cubicBezTo>
                    <a:pt x="97177" y="91630"/>
                    <a:pt x="99622" y="95906"/>
                    <a:pt x="103289" y="99571"/>
                  </a:cubicBezTo>
                  <a:cubicBezTo>
                    <a:pt x="103289" y="99571"/>
                    <a:pt x="103289" y="99571"/>
                    <a:pt x="103289" y="99571"/>
                  </a:cubicBezTo>
                  <a:cubicBezTo>
                    <a:pt x="103289" y="99571"/>
                    <a:pt x="103901" y="99571"/>
                    <a:pt x="103901" y="100182"/>
                  </a:cubicBezTo>
                  <a:cubicBezTo>
                    <a:pt x="103901" y="100182"/>
                    <a:pt x="104512" y="100182"/>
                    <a:pt x="104512" y="100182"/>
                  </a:cubicBezTo>
                  <a:cubicBezTo>
                    <a:pt x="104512" y="100182"/>
                    <a:pt x="104512" y="100182"/>
                    <a:pt x="104512" y="100182"/>
                  </a:cubicBezTo>
                  <a:cubicBezTo>
                    <a:pt x="105734" y="100182"/>
                    <a:pt x="106956" y="100793"/>
                    <a:pt x="108179" y="100793"/>
                  </a:cubicBezTo>
                  <a:cubicBezTo>
                    <a:pt x="106956" y="111178"/>
                    <a:pt x="94733" y="119730"/>
                    <a:pt x="79453" y="119730"/>
                  </a:cubicBezTo>
                  <a:cubicBezTo>
                    <a:pt x="64174" y="119730"/>
                    <a:pt x="52561" y="111789"/>
                    <a:pt x="50728" y="101404"/>
                  </a:cubicBezTo>
                  <a:cubicBezTo>
                    <a:pt x="51950" y="100182"/>
                    <a:pt x="53173" y="100182"/>
                    <a:pt x="54395" y="100182"/>
                  </a:cubicBezTo>
                  <a:close/>
                  <a:moveTo>
                    <a:pt x="146072" y="153939"/>
                  </a:moveTo>
                  <a:cubicBezTo>
                    <a:pt x="136293" y="159436"/>
                    <a:pt x="114902" y="167988"/>
                    <a:pt x="79453" y="167988"/>
                  </a:cubicBezTo>
                  <a:cubicBezTo>
                    <a:pt x="44616" y="167988"/>
                    <a:pt x="22614" y="159436"/>
                    <a:pt x="12835" y="153939"/>
                  </a:cubicBezTo>
                  <a:cubicBezTo>
                    <a:pt x="8556" y="151495"/>
                    <a:pt x="5500" y="146608"/>
                    <a:pt x="5500" y="141110"/>
                  </a:cubicBezTo>
                  <a:lnTo>
                    <a:pt x="5500" y="133169"/>
                  </a:lnTo>
                  <a:cubicBezTo>
                    <a:pt x="5500" y="124006"/>
                    <a:pt x="10390" y="116065"/>
                    <a:pt x="18335" y="111789"/>
                  </a:cubicBezTo>
                  <a:cubicBezTo>
                    <a:pt x="23836" y="108734"/>
                    <a:pt x="29948" y="106291"/>
                    <a:pt x="35448" y="104458"/>
                  </a:cubicBezTo>
                  <a:cubicBezTo>
                    <a:pt x="38504" y="103237"/>
                    <a:pt x="40949" y="102626"/>
                    <a:pt x="43394" y="102015"/>
                  </a:cubicBezTo>
                  <a:lnTo>
                    <a:pt x="44616" y="102015"/>
                  </a:lnTo>
                  <a:cubicBezTo>
                    <a:pt x="47061" y="114843"/>
                    <a:pt x="61729" y="125228"/>
                    <a:pt x="78842" y="125228"/>
                  </a:cubicBezTo>
                  <a:cubicBezTo>
                    <a:pt x="95955" y="125228"/>
                    <a:pt x="110623" y="114843"/>
                    <a:pt x="113068" y="102015"/>
                  </a:cubicBezTo>
                  <a:cubicBezTo>
                    <a:pt x="113679" y="102015"/>
                    <a:pt x="113679" y="102015"/>
                    <a:pt x="114291" y="102626"/>
                  </a:cubicBezTo>
                  <a:cubicBezTo>
                    <a:pt x="116735" y="103237"/>
                    <a:pt x="119180" y="103847"/>
                    <a:pt x="122236" y="105069"/>
                  </a:cubicBezTo>
                  <a:cubicBezTo>
                    <a:pt x="128348" y="106902"/>
                    <a:pt x="133848" y="109345"/>
                    <a:pt x="139349" y="112400"/>
                  </a:cubicBezTo>
                  <a:cubicBezTo>
                    <a:pt x="147294" y="116676"/>
                    <a:pt x="152184" y="124617"/>
                    <a:pt x="152184" y="133780"/>
                  </a:cubicBezTo>
                  <a:lnTo>
                    <a:pt x="152184" y="141721"/>
                  </a:lnTo>
                  <a:cubicBezTo>
                    <a:pt x="153406" y="146608"/>
                    <a:pt x="150962" y="150884"/>
                    <a:pt x="146072" y="153939"/>
                  </a:cubicBezTo>
                  <a:close/>
                </a:path>
              </a:pathLst>
            </a:custGeom>
            <a:solidFill>
              <a:srgbClr val="2473B9"/>
            </a:solidFill>
            <a:ln w="61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</p:grpSp>
      <p:grpSp>
        <p:nvGrpSpPr>
          <p:cNvPr id="38" name="Group 37">
            <a:extLst>
              <a:ext uri="{FF2B5EF4-FFF2-40B4-BE49-F238E27FC236}">
                <a16:creationId xmlns:a16="http://schemas.microsoft.com/office/drawing/2014/main" id="{0B27C9F0-DC95-1642-A622-1198BB7542BD}"/>
              </a:ext>
            </a:extLst>
          </p:cNvPr>
          <p:cNvGrpSpPr/>
          <p:nvPr/>
        </p:nvGrpSpPr>
        <p:grpSpPr>
          <a:xfrm>
            <a:off x="2770503" y="2767437"/>
            <a:ext cx="853440" cy="853440"/>
            <a:chOff x="4243624" y="656353"/>
            <a:chExt cx="640080" cy="640080"/>
          </a:xfrm>
        </p:grpSpPr>
        <p:sp>
          <p:nvSpPr>
            <p:cNvPr id="39" name="Oval 38">
              <a:extLst>
                <a:ext uri="{FF2B5EF4-FFF2-40B4-BE49-F238E27FC236}">
                  <a16:creationId xmlns:a16="http://schemas.microsoft.com/office/drawing/2014/main" id="{60CB51CB-74F7-D54B-8C9B-9BEFFD312200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243624" y="656353"/>
              <a:ext cx="640080" cy="64008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40" name="Graphic 11">
              <a:extLst>
                <a:ext uri="{FF2B5EF4-FFF2-40B4-BE49-F238E27FC236}">
                  <a16:creationId xmlns:a16="http://schemas.microsoft.com/office/drawing/2014/main" id="{0757571A-1DE2-F348-A948-9B54E96C03A7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378703" y="775225"/>
              <a:ext cx="369923" cy="402336"/>
            </a:xfrm>
            <a:custGeom>
              <a:avLst/>
              <a:gdLst>
                <a:gd name="connsiteX0" fmla="*/ 143627 w 158948"/>
                <a:gd name="connsiteY0" fmla="*/ 106291 h 172875"/>
                <a:gd name="connsiteX1" fmla="*/ 139960 w 158948"/>
                <a:gd name="connsiteY1" fmla="*/ 104458 h 172875"/>
                <a:gd name="connsiteX2" fmla="*/ 127736 w 158948"/>
                <a:gd name="connsiteY2" fmla="*/ 99571 h 172875"/>
                <a:gd name="connsiteX3" fmla="*/ 127736 w 158948"/>
                <a:gd name="connsiteY3" fmla="*/ 99571 h 172875"/>
                <a:gd name="connsiteX4" fmla="*/ 124680 w 158948"/>
                <a:gd name="connsiteY4" fmla="*/ 98350 h 172875"/>
                <a:gd name="connsiteX5" fmla="*/ 116735 w 158948"/>
                <a:gd name="connsiteY5" fmla="*/ 95906 h 172875"/>
                <a:gd name="connsiteX6" fmla="*/ 106956 w 158948"/>
                <a:gd name="connsiteY6" fmla="*/ 93463 h 172875"/>
                <a:gd name="connsiteX7" fmla="*/ 101456 w 158948"/>
                <a:gd name="connsiteY7" fmla="*/ 83689 h 172875"/>
                <a:gd name="connsiteX8" fmla="*/ 124069 w 158948"/>
                <a:gd name="connsiteY8" fmla="*/ 44593 h 172875"/>
                <a:gd name="connsiteX9" fmla="*/ 79453 w 158948"/>
                <a:gd name="connsiteY9" fmla="*/ 0 h 172875"/>
                <a:gd name="connsiteX10" fmla="*/ 34837 w 158948"/>
                <a:gd name="connsiteY10" fmla="*/ 44593 h 172875"/>
                <a:gd name="connsiteX11" fmla="*/ 57451 w 158948"/>
                <a:gd name="connsiteY11" fmla="*/ 83689 h 172875"/>
                <a:gd name="connsiteX12" fmla="*/ 51950 w 158948"/>
                <a:gd name="connsiteY12" fmla="*/ 94074 h 172875"/>
                <a:gd name="connsiteX13" fmla="*/ 42171 w 158948"/>
                <a:gd name="connsiteY13" fmla="*/ 95906 h 172875"/>
                <a:gd name="connsiteX14" fmla="*/ 34226 w 158948"/>
                <a:gd name="connsiteY14" fmla="*/ 98350 h 172875"/>
                <a:gd name="connsiteX15" fmla="*/ 28726 w 158948"/>
                <a:gd name="connsiteY15" fmla="*/ 100182 h 172875"/>
                <a:gd name="connsiteX16" fmla="*/ 28726 w 158948"/>
                <a:gd name="connsiteY16" fmla="*/ 100182 h 172875"/>
                <a:gd name="connsiteX17" fmla="*/ 23225 w 158948"/>
                <a:gd name="connsiteY17" fmla="*/ 102626 h 172875"/>
                <a:gd name="connsiteX18" fmla="*/ 23225 w 158948"/>
                <a:gd name="connsiteY18" fmla="*/ 102626 h 172875"/>
                <a:gd name="connsiteX19" fmla="*/ 15891 w 158948"/>
                <a:gd name="connsiteY19" fmla="*/ 106291 h 172875"/>
                <a:gd name="connsiteX20" fmla="*/ 0 w 158948"/>
                <a:gd name="connsiteY20" fmla="*/ 132558 h 172875"/>
                <a:gd name="connsiteX21" fmla="*/ 0 w 158948"/>
                <a:gd name="connsiteY21" fmla="*/ 140499 h 172875"/>
                <a:gd name="connsiteX22" fmla="*/ 10390 w 158948"/>
                <a:gd name="connsiteY22" fmla="*/ 158215 h 172875"/>
                <a:gd name="connsiteX23" fmla="*/ 79453 w 158948"/>
                <a:gd name="connsiteY23" fmla="*/ 172875 h 172875"/>
                <a:gd name="connsiteX24" fmla="*/ 148517 w 158948"/>
                <a:gd name="connsiteY24" fmla="*/ 158215 h 172875"/>
                <a:gd name="connsiteX25" fmla="*/ 158907 w 158948"/>
                <a:gd name="connsiteY25" fmla="*/ 140499 h 172875"/>
                <a:gd name="connsiteX26" fmla="*/ 158907 w 158948"/>
                <a:gd name="connsiteY26" fmla="*/ 132558 h 172875"/>
                <a:gd name="connsiteX27" fmla="*/ 143627 w 158948"/>
                <a:gd name="connsiteY27" fmla="*/ 106291 h 172875"/>
                <a:gd name="connsiteX28" fmla="*/ 40338 w 158948"/>
                <a:gd name="connsiteY28" fmla="*/ 45204 h 172875"/>
                <a:gd name="connsiteX29" fmla="*/ 80064 w 158948"/>
                <a:gd name="connsiteY29" fmla="*/ 5498 h 172875"/>
                <a:gd name="connsiteX30" fmla="*/ 119791 w 158948"/>
                <a:gd name="connsiteY30" fmla="*/ 45204 h 172875"/>
                <a:gd name="connsiteX31" fmla="*/ 80064 w 158948"/>
                <a:gd name="connsiteY31" fmla="*/ 84911 h 172875"/>
                <a:gd name="connsiteX32" fmla="*/ 40338 w 158948"/>
                <a:gd name="connsiteY32" fmla="*/ 45204 h 172875"/>
                <a:gd name="connsiteX33" fmla="*/ 54395 w 158948"/>
                <a:gd name="connsiteY33" fmla="*/ 100182 h 172875"/>
                <a:gd name="connsiteX34" fmla="*/ 54395 w 158948"/>
                <a:gd name="connsiteY34" fmla="*/ 100182 h 172875"/>
                <a:gd name="connsiteX35" fmla="*/ 54395 w 158948"/>
                <a:gd name="connsiteY35" fmla="*/ 100182 h 172875"/>
                <a:gd name="connsiteX36" fmla="*/ 55006 w 158948"/>
                <a:gd name="connsiteY36" fmla="*/ 100182 h 172875"/>
                <a:gd name="connsiteX37" fmla="*/ 55617 w 158948"/>
                <a:gd name="connsiteY37" fmla="*/ 99571 h 172875"/>
                <a:gd name="connsiteX38" fmla="*/ 55617 w 158948"/>
                <a:gd name="connsiteY38" fmla="*/ 99571 h 172875"/>
                <a:gd name="connsiteX39" fmla="*/ 62951 w 158948"/>
                <a:gd name="connsiteY39" fmla="*/ 87354 h 172875"/>
                <a:gd name="connsiteX40" fmla="*/ 79453 w 158948"/>
                <a:gd name="connsiteY40" fmla="*/ 90408 h 172875"/>
                <a:gd name="connsiteX41" fmla="*/ 95955 w 158948"/>
                <a:gd name="connsiteY41" fmla="*/ 87354 h 172875"/>
                <a:gd name="connsiteX42" fmla="*/ 103289 w 158948"/>
                <a:gd name="connsiteY42" fmla="*/ 99571 h 172875"/>
                <a:gd name="connsiteX43" fmla="*/ 103289 w 158948"/>
                <a:gd name="connsiteY43" fmla="*/ 99571 h 172875"/>
                <a:gd name="connsiteX44" fmla="*/ 103901 w 158948"/>
                <a:gd name="connsiteY44" fmla="*/ 100182 h 172875"/>
                <a:gd name="connsiteX45" fmla="*/ 104512 w 158948"/>
                <a:gd name="connsiteY45" fmla="*/ 100182 h 172875"/>
                <a:gd name="connsiteX46" fmla="*/ 104512 w 158948"/>
                <a:gd name="connsiteY46" fmla="*/ 100182 h 172875"/>
                <a:gd name="connsiteX47" fmla="*/ 108179 w 158948"/>
                <a:gd name="connsiteY47" fmla="*/ 100793 h 172875"/>
                <a:gd name="connsiteX48" fmla="*/ 79453 w 158948"/>
                <a:gd name="connsiteY48" fmla="*/ 119730 h 172875"/>
                <a:gd name="connsiteX49" fmla="*/ 50728 w 158948"/>
                <a:gd name="connsiteY49" fmla="*/ 101404 h 172875"/>
                <a:gd name="connsiteX50" fmla="*/ 54395 w 158948"/>
                <a:gd name="connsiteY50" fmla="*/ 100182 h 172875"/>
                <a:gd name="connsiteX51" fmla="*/ 146072 w 158948"/>
                <a:gd name="connsiteY51" fmla="*/ 153939 h 172875"/>
                <a:gd name="connsiteX52" fmla="*/ 79453 w 158948"/>
                <a:gd name="connsiteY52" fmla="*/ 167988 h 172875"/>
                <a:gd name="connsiteX53" fmla="*/ 12835 w 158948"/>
                <a:gd name="connsiteY53" fmla="*/ 153939 h 172875"/>
                <a:gd name="connsiteX54" fmla="*/ 5500 w 158948"/>
                <a:gd name="connsiteY54" fmla="*/ 141110 h 172875"/>
                <a:gd name="connsiteX55" fmla="*/ 5500 w 158948"/>
                <a:gd name="connsiteY55" fmla="*/ 133169 h 172875"/>
                <a:gd name="connsiteX56" fmla="*/ 18335 w 158948"/>
                <a:gd name="connsiteY56" fmla="*/ 111789 h 172875"/>
                <a:gd name="connsiteX57" fmla="*/ 35448 w 158948"/>
                <a:gd name="connsiteY57" fmla="*/ 104458 h 172875"/>
                <a:gd name="connsiteX58" fmla="*/ 43394 w 158948"/>
                <a:gd name="connsiteY58" fmla="*/ 102015 h 172875"/>
                <a:gd name="connsiteX59" fmla="*/ 44616 w 158948"/>
                <a:gd name="connsiteY59" fmla="*/ 102015 h 172875"/>
                <a:gd name="connsiteX60" fmla="*/ 78842 w 158948"/>
                <a:gd name="connsiteY60" fmla="*/ 125228 h 172875"/>
                <a:gd name="connsiteX61" fmla="*/ 113068 w 158948"/>
                <a:gd name="connsiteY61" fmla="*/ 102015 h 172875"/>
                <a:gd name="connsiteX62" fmla="*/ 114291 w 158948"/>
                <a:gd name="connsiteY62" fmla="*/ 102626 h 172875"/>
                <a:gd name="connsiteX63" fmla="*/ 122236 w 158948"/>
                <a:gd name="connsiteY63" fmla="*/ 105069 h 172875"/>
                <a:gd name="connsiteX64" fmla="*/ 139349 w 158948"/>
                <a:gd name="connsiteY64" fmla="*/ 112400 h 172875"/>
                <a:gd name="connsiteX65" fmla="*/ 152184 w 158948"/>
                <a:gd name="connsiteY65" fmla="*/ 133780 h 172875"/>
                <a:gd name="connsiteX66" fmla="*/ 152184 w 158948"/>
                <a:gd name="connsiteY66" fmla="*/ 141721 h 172875"/>
                <a:gd name="connsiteX67" fmla="*/ 146072 w 158948"/>
                <a:gd name="connsiteY67" fmla="*/ 153939 h 172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158948" h="172875">
                  <a:moveTo>
                    <a:pt x="143627" y="106291"/>
                  </a:moveTo>
                  <a:cubicBezTo>
                    <a:pt x="142405" y="105680"/>
                    <a:pt x="141182" y="105069"/>
                    <a:pt x="139960" y="104458"/>
                  </a:cubicBezTo>
                  <a:cubicBezTo>
                    <a:pt x="136904" y="102626"/>
                    <a:pt x="127736" y="99571"/>
                    <a:pt x="127736" y="99571"/>
                  </a:cubicBezTo>
                  <a:lnTo>
                    <a:pt x="127736" y="99571"/>
                  </a:lnTo>
                  <a:cubicBezTo>
                    <a:pt x="126514" y="98961"/>
                    <a:pt x="125903" y="98961"/>
                    <a:pt x="124680" y="98350"/>
                  </a:cubicBezTo>
                  <a:cubicBezTo>
                    <a:pt x="121625" y="97128"/>
                    <a:pt x="119180" y="96517"/>
                    <a:pt x="116735" y="95906"/>
                  </a:cubicBezTo>
                  <a:cubicBezTo>
                    <a:pt x="113679" y="94684"/>
                    <a:pt x="110012" y="94074"/>
                    <a:pt x="106956" y="93463"/>
                  </a:cubicBezTo>
                  <a:cubicBezTo>
                    <a:pt x="104512" y="91019"/>
                    <a:pt x="102678" y="87354"/>
                    <a:pt x="101456" y="83689"/>
                  </a:cubicBezTo>
                  <a:cubicBezTo>
                    <a:pt x="114902" y="75748"/>
                    <a:pt x="124069" y="61698"/>
                    <a:pt x="124069" y="44593"/>
                  </a:cubicBezTo>
                  <a:cubicBezTo>
                    <a:pt x="124069" y="20159"/>
                    <a:pt x="103901" y="0"/>
                    <a:pt x="79453" y="0"/>
                  </a:cubicBezTo>
                  <a:cubicBezTo>
                    <a:pt x="55006" y="0"/>
                    <a:pt x="34837" y="20159"/>
                    <a:pt x="34837" y="44593"/>
                  </a:cubicBezTo>
                  <a:cubicBezTo>
                    <a:pt x="34837" y="61087"/>
                    <a:pt x="44005" y="75748"/>
                    <a:pt x="57451" y="83689"/>
                  </a:cubicBezTo>
                  <a:cubicBezTo>
                    <a:pt x="56229" y="87354"/>
                    <a:pt x="54395" y="91019"/>
                    <a:pt x="51950" y="94074"/>
                  </a:cubicBezTo>
                  <a:cubicBezTo>
                    <a:pt x="45838" y="95295"/>
                    <a:pt x="42171" y="95906"/>
                    <a:pt x="42171" y="95906"/>
                  </a:cubicBezTo>
                  <a:cubicBezTo>
                    <a:pt x="39727" y="96517"/>
                    <a:pt x="37282" y="97128"/>
                    <a:pt x="34226" y="98350"/>
                  </a:cubicBezTo>
                  <a:cubicBezTo>
                    <a:pt x="32392" y="98961"/>
                    <a:pt x="30559" y="99571"/>
                    <a:pt x="28726" y="100182"/>
                  </a:cubicBezTo>
                  <a:cubicBezTo>
                    <a:pt x="28726" y="100182"/>
                    <a:pt x="28726" y="100182"/>
                    <a:pt x="28726" y="100182"/>
                  </a:cubicBezTo>
                  <a:cubicBezTo>
                    <a:pt x="26892" y="100793"/>
                    <a:pt x="25058" y="102015"/>
                    <a:pt x="23225" y="102626"/>
                  </a:cubicBezTo>
                  <a:cubicBezTo>
                    <a:pt x="23225" y="102626"/>
                    <a:pt x="23225" y="102626"/>
                    <a:pt x="23225" y="102626"/>
                  </a:cubicBezTo>
                  <a:cubicBezTo>
                    <a:pt x="20780" y="103847"/>
                    <a:pt x="18335" y="105069"/>
                    <a:pt x="15891" y="106291"/>
                  </a:cubicBezTo>
                  <a:cubicBezTo>
                    <a:pt x="6112" y="111178"/>
                    <a:pt x="0" y="121563"/>
                    <a:pt x="0" y="132558"/>
                  </a:cubicBezTo>
                  <a:lnTo>
                    <a:pt x="0" y="140499"/>
                  </a:lnTo>
                  <a:cubicBezTo>
                    <a:pt x="0" y="147830"/>
                    <a:pt x="4278" y="154549"/>
                    <a:pt x="10390" y="158215"/>
                  </a:cubicBezTo>
                  <a:cubicBezTo>
                    <a:pt x="22614" y="164934"/>
                    <a:pt x="45227" y="172875"/>
                    <a:pt x="79453" y="172875"/>
                  </a:cubicBezTo>
                  <a:cubicBezTo>
                    <a:pt x="113679" y="172875"/>
                    <a:pt x="136293" y="164934"/>
                    <a:pt x="148517" y="158215"/>
                  </a:cubicBezTo>
                  <a:cubicBezTo>
                    <a:pt x="155239" y="154549"/>
                    <a:pt x="158907" y="147830"/>
                    <a:pt x="158907" y="140499"/>
                  </a:cubicBezTo>
                  <a:lnTo>
                    <a:pt x="158907" y="132558"/>
                  </a:lnTo>
                  <a:cubicBezTo>
                    <a:pt x="159518" y="121563"/>
                    <a:pt x="153406" y="111789"/>
                    <a:pt x="143627" y="106291"/>
                  </a:cubicBezTo>
                  <a:close/>
                  <a:moveTo>
                    <a:pt x="40338" y="45204"/>
                  </a:moveTo>
                  <a:cubicBezTo>
                    <a:pt x="40338" y="23213"/>
                    <a:pt x="58062" y="5498"/>
                    <a:pt x="80064" y="5498"/>
                  </a:cubicBezTo>
                  <a:cubicBezTo>
                    <a:pt x="102067" y="5498"/>
                    <a:pt x="119791" y="23213"/>
                    <a:pt x="119791" y="45204"/>
                  </a:cubicBezTo>
                  <a:cubicBezTo>
                    <a:pt x="119791" y="67195"/>
                    <a:pt x="102067" y="84911"/>
                    <a:pt x="80064" y="84911"/>
                  </a:cubicBezTo>
                  <a:cubicBezTo>
                    <a:pt x="58062" y="84911"/>
                    <a:pt x="40338" y="67195"/>
                    <a:pt x="40338" y="45204"/>
                  </a:cubicBezTo>
                  <a:close/>
                  <a:moveTo>
                    <a:pt x="54395" y="100182"/>
                  </a:moveTo>
                  <a:lnTo>
                    <a:pt x="54395" y="100182"/>
                  </a:lnTo>
                  <a:cubicBezTo>
                    <a:pt x="55006" y="100182"/>
                    <a:pt x="55006" y="100182"/>
                    <a:pt x="54395" y="100182"/>
                  </a:cubicBezTo>
                  <a:cubicBezTo>
                    <a:pt x="55006" y="100182"/>
                    <a:pt x="55006" y="100182"/>
                    <a:pt x="55006" y="100182"/>
                  </a:cubicBezTo>
                  <a:lnTo>
                    <a:pt x="55617" y="99571"/>
                  </a:lnTo>
                  <a:cubicBezTo>
                    <a:pt x="55617" y="99571"/>
                    <a:pt x="55617" y="99571"/>
                    <a:pt x="55617" y="99571"/>
                  </a:cubicBezTo>
                  <a:cubicBezTo>
                    <a:pt x="59285" y="95906"/>
                    <a:pt x="61729" y="91630"/>
                    <a:pt x="62951" y="87354"/>
                  </a:cubicBezTo>
                  <a:cubicBezTo>
                    <a:pt x="67841" y="89187"/>
                    <a:pt x="73342" y="90408"/>
                    <a:pt x="79453" y="90408"/>
                  </a:cubicBezTo>
                  <a:cubicBezTo>
                    <a:pt x="85565" y="90408"/>
                    <a:pt x="91066" y="89187"/>
                    <a:pt x="95955" y="87354"/>
                  </a:cubicBezTo>
                  <a:cubicBezTo>
                    <a:pt x="97177" y="91630"/>
                    <a:pt x="99622" y="95906"/>
                    <a:pt x="103289" y="99571"/>
                  </a:cubicBezTo>
                  <a:cubicBezTo>
                    <a:pt x="103289" y="99571"/>
                    <a:pt x="103289" y="99571"/>
                    <a:pt x="103289" y="99571"/>
                  </a:cubicBezTo>
                  <a:cubicBezTo>
                    <a:pt x="103289" y="99571"/>
                    <a:pt x="103901" y="99571"/>
                    <a:pt x="103901" y="100182"/>
                  </a:cubicBezTo>
                  <a:cubicBezTo>
                    <a:pt x="103901" y="100182"/>
                    <a:pt x="104512" y="100182"/>
                    <a:pt x="104512" y="100182"/>
                  </a:cubicBezTo>
                  <a:cubicBezTo>
                    <a:pt x="104512" y="100182"/>
                    <a:pt x="104512" y="100182"/>
                    <a:pt x="104512" y="100182"/>
                  </a:cubicBezTo>
                  <a:cubicBezTo>
                    <a:pt x="105734" y="100182"/>
                    <a:pt x="106956" y="100793"/>
                    <a:pt x="108179" y="100793"/>
                  </a:cubicBezTo>
                  <a:cubicBezTo>
                    <a:pt x="106956" y="111178"/>
                    <a:pt x="94733" y="119730"/>
                    <a:pt x="79453" y="119730"/>
                  </a:cubicBezTo>
                  <a:cubicBezTo>
                    <a:pt x="64174" y="119730"/>
                    <a:pt x="52561" y="111789"/>
                    <a:pt x="50728" y="101404"/>
                  </a:cubicBezTo>
                  <a:cubicBezTo>
                    <a:pt x="51950" y="100182"/>
                    <a:pt x="53173" y="100182"/>
                    <a:pt x="54395" y="100182"/>
                  </a:cubicBezTo>
                  <a:close/>
                  <a:moveTo>
                    <a:pt x="146072" y="153939"/>
                  </a:moveTo>
                  <a:cubicBezTo>
                    <a:pt x="136293" y="159436"/>
                    <a:pt x="114902" y="167988"/>
                    <a:pt x="79453" y="167988"/>
                  </a:cubicBezTo>
                  <a:cubicBezTo>
                    <a:pt x="44616" y="167988"/>
                    <a:pt x="22614" y="159436"/>
                    <a:pt x="12835" y="153939"/>
                  </a:cubicBezTo>
                  <a:cubicBezTo>
                    <a:pt x="8556" y="151495"/>
                    <a:pt x="5500" y="146608"/>
                    <a:pt x="5500" y="141110"/>
                  </a:cubicBezTo>
                  <a:lnTo>
                    <a:pt x="5500" y="133169"/>
                  </a:lnTo>
                  <a:cubicBezTo>
                    <a:pt x="5500" y="124006"/>
                    <a:pt x="10390" y="116065"/>
                    <a:pt x="18335" y="111789"/>
                  </a:cubicBezTo>
                  <a:cubicBezTo>
                    <a:pt x="23836" y="108734"/>
                    <a:pt x="29948" y="106291"/>
                    <a:pt x="35448" y="104458"/>
                  </a:cubicBezTo>
                  <a:cubicBezTo>
                    <a:pt x="38504" y="103237"/>
                    <a:pt x="40949" y="102626"/>
                    <a:pt x="43394" y="102015"/>
                  </a:cubicBezTo>
                  <a:lnTo>
                    <a:pt x="44616" y="102015"/>
                  </a:lnTo>
                  <a:cubicBezTo>
                    <a:pt x="47061" y="114843"/>
                    <a:pt x="61729" y="125228"/>
                    <a:pt x="78842" y="125228"/>
                  </a:cubicBezTo>
                  <a:cubicBezTo>
                    <a:pt x="95955" y="125228"/>
                    <a:pt x="110623" y="114843"/>
                    <a:pt x="113068" y="102015"/>
                  </a:cubicBezTo>
                  <a:cubicBezTo>
                    <a:pt x="113679" y="102015"/>
                    <a:pt x="113679" y="102015"/>
                    <a:pt x="114291" y="102626"/>
                  </a:cubicBezTo>
                  <a:cubicBezTo>
                    <a:pt x="116735" y="103237"/>
                    <a:pt x="119180" y="103847"/>
                    <a:pt x="122236" y="105069"/>
                  </a:cubicBezTo>
                  <a:cubicBezTo>
                    <a:pt x="128348" y="106902"/>
                    <a:pt x="133848" y="109345"/>
                    <a:pt x="139349" y="112400"/>
                  </a:cubicBezTo>
                  <a:cubicBezTo>
                    <a:pt x="147294" y="116676"/>
                    <a:pt x="152184" y="124617"/>
                    <a:pt x="152184" y="133780"/>
                  </a:cubicBezTo>
                  <a:lnTo>
                    <a:pt x="152184" y="141721"/>
                  </a:lnTo>
                  <a:cubicBezTo>
                    <a:pt x="153406" y="146608"/>
                    <a:pt x="150962" y="150884"/>
                    <a:pt x="146072" y="153939"/>
                  </a:cubicBezTo>
                  <a:close/>
                </a:path>
              </a:pathLst>
            </a:custGeom>
            <a:solidFill>
              <a:srgbClr val="2473B9"/>
            </a:solidFill>
            <a:ln w="61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</p:grpSp>
      <p:grpSp>
        <p:nvGrpSpPr>
          <p:cNvPr id="41" name="Group 40">
            <a:extLst>
              <a:ext uri="{FF2B5EF4-FFF2-40B4-BE49-F238E27FC236}">
                <a16:creationId xmlns:a16="http://schemas.microsoft.com/office/drawing/2014/main" id="{2BE41FB1-D516-4B4F-BE72-89A27108FC24}"/>
              </a:ext>
            </a:extLst>
          </p:cNvPr>
          <p:cNvGrpSpPr/>
          <p:nvPr/>
        </p:nvGrpSpPr>
        <p:grpSpPr>
          <a:xfrm>
            <a:off x="10466708" y="2767437"/>
            <a:ext cx="853440" cy="853440"/>
            <a:chOff x="4243624" y="656353"/>
            <a:chExt cx="640080" cy="640080"/>
          </a:xfrm>
        </p:grpSpPr>
        <p:sp>
          <p:nvSpPr>
            <p:cNvPr id="42" name="Oval 41">
              <a:extLst>
                <a:ext uri="{FF2B5EF4-FFF2-40B4-BE49-F238E27FC236}">
                  <a16:creationId xmlns:a16="http://schemas.microsoft.com/office/drawing/2014/main" id="{8264332D-928D-F646-9FD3-AA595A58C580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243624" y="656353"/>
              <a:ext cx="640080" cy="64008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43" name="Graphic 11">
              <a:extLst>
                <a:ext uri="{FF2B5EF4-FFF2-40B4-BE49-F238E27FC236}">
                  <a16:creationId xmlns:a16="http://schemas.microsoft.com/office/drawing/2014/main" id="{F6BFCB76-7DF8-1049-BE91-2C060E946ABB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378703" y="775225"/>
              <a:ext cx="369923" cy="402336"/>
            </a:xfrm>
            <a:custGeom>
              <a:avLst/>
              <a:gdLst>
                <a:gd name="connsiteX0" fmla="*/ 143627 w 158948"/>
                <a:gd name="connsiteY0" fmla="*/ 106291 h 172875"/>
                <a:gd name="connsiteX1" fmla="*/ 139960 w 158948"/>
                <a:gd name="connsiteY1" fmla="*/ 104458 h 172875"/>
                <a:gd name="connsiteX2" fmla="*/ 127736 w 158948"/>
                <a:gd name="connsiteY2" fmla="*/ 99571 h 172875"/>
                <a:gd name="connsiteX3" fmla="*/ 127736 w 158948"/>
                <a:gd name="connsiteY3" fmla="*/ 99571 h 172875"/>
                <a:gd name="connsiteX4" fmla="*/ 124680 w 158948"/>
                <a:gd name="connsiteY4" fmla="*/ 98350 h 172875"/>
                <a:gd name="connsiteX5" fmla="*/ 116735 w 158948"/>
                <a:gd name="connsiteY5" fmla="*/ 95906 h 172875"/>
                <a:gd name="connsiteX6" fmla="*/ 106956 w 158948"/>
                <a:gd name="connsiteY6" fmla="*/ 93463 h 172875"/>
                <a:gd name="connsiteX7" fmla="*/ 101456 w 158948"/>
                <a:gd name="connsiteY7" fmla="*/ 83689 h 172875"/>
                <a:gd name="connsiteX8" fmla="*/ 124069 w 158948"/>
                <a:gd name="connsiteY8" fmla="*/ 44593 h 172875"/>
                <a:gd name="connsiteX9" fmla="*/ 79453 w 158948"/>
                <a:gd name="connsiteY9" fmla="*/ 0 h 172875"/>
                <a:gd name="connsiteX10" fmla="*/ 34837 w 158948"/>
                <a:gd name="connsiteY10" fmla="*/ 44593 h 172875"/>
                <a:gd name="connsiteX11" fmla="*/ 57451 w 158948"/>
                <a:gd name="connsiteY11" fmla="*/ 83689 h 172875"/>
                <a:gd name="connsiteX12" fmla="*/ 51950 w 158948"/>
                <a:gd name="connsiteY12" fmla="*/ 94074 h 172875"/>
                <a:gd name="connsiteX13" fmla="*/ 42171 w 158948"/>
                <a:gd name="connsiteY13" fmla="*/ 95906 h 172875"/>
                <a:gd name="connsiteX14" fmla="*/ 34226 w 158948"/>
                <a:gd name="connsiteY14" fmla="*/ 98350 h 172875"/>
                <a:gd name="connsiteX15" fmla="*/ 28726 w 158948"/>
                <a:gd name="connsiteY15" fmla="*/ 100182 h 172875"/>
                <a:gd name="connsiteX16" fmla="*/ 28726 w 158948"/>
                <a:gd name="connsiteY16" fmla="*/ 100182 h 172875"/>
                <a:gd name="connsiteX17" fmla="*/ 23225 w 158948"/>
                <a:gd name="connsiteY17" fmla="*/ 102626 h 172875"/>
                <a:gd name="connsiteX18" fmla="*/ 23225 w 158948"/>
                <a:gd name="connsiteY18" fmla="*/ 102626 h 172875"/>
                <a:gd name="connsiteX19" fmla="*/ 15891 w 158948"/>
                <a:gd name="connsiteY19" fmla="*/ 106291 h 172875"/>
                <a:gd name="connsiteX20" fmla="*/ 0 w 158948"/>
                <a:gd name="connsiteY20" fmla="*/ 132558 h 172875"/>
                <a:gd name="connsiteX21" fmla="*/ 0 w 158948"/>
                <a:gd name="connsiteY21" fmla="*/ 140499 h 172875"/>
                <a:gd name="connsiteX22" fmla="*/ 10390 w 158948"/>
                <a:gd name="connsiteY22" fmla="*/ 158215 h 172875"/>
                <a:gd name="connsiteX23" fmla="*/ 79453 w 158948"/>
                <a:gd name="connsiteY23" fmla="*/ 172875 h 172875"/>
                <a:gd name="connsiteX24" fmla="*/ 148517 w 158948"/>
                <a:gd name="connsiteY24" fmla="*/ 158215 h 172875"/>
                <a:gd name="connsiteX25" fmla="*/ 158907 w 158948"/>
                <a:gd name="connsiteY25" fmla="*/ 140499 h 172875"/>
                <a:gd name="connsiteX26" fmla="*/ 158907 w 158948"/>
                <a:gd name="connsiteY26" fmla="*/ 132558 h 172875"/>
                <a:gd name="connsiteX27" fmla="*/ 143627 w 158948"/>
                <a:gd name="connsiteY27" fmla="*/ 106291 h 172875"/>
                <a:gd name="connsiteX28" fmla="*/ 40338 w 158948"/>
                <a:gd name="connsiteY28" fmla="*/ 45204 h 172875"/>
                <a:gd name="connsiteX29" fmla="*/ 80064 w 158948"/>
                <a:gd name="connsiteY29" fmla="*/ 5498 h 172875"/>
                <a:gd name="connsiteX30" fmla="*/ 119791 w 158948"/>
                <a:gd name="connsiteY30" fmla="*/ 45204 h 172875"/>
                <a:gd name="connsiteX31" fmla="*/ 80064 w 158948"/>
                <a:gd name="connsiteY31" fmla="*/ 84911 h 172875"/>
                <a:gd name="connsiteX32" fmla="*/ 40338 w 158948"/>
                <a:gd name="connsiteY32" fmla="*/ 45204 h 172875"/>
                <a:gd name="connsiteX33" fmla="*/ 54395 w 158948"/>
                <a:gd name="connsiteY33" fmla="*/ 100182 h 172875"/>
                <a:gd name="connsiteX34" fmla="*/ 54395 w 158948"/>
                <a:gd name="connsiteY34" fmla="*/ 100182 h 172875"/>
                <a:gd name="connsiteX35" fmla="*/ 54395 w 158948"/>
                <a:gd name="connsiteY35" fmla="*/ 100182 h 172875"/>
                <a:gd name="connsiteX36" fmla="*/ 55006 w 158948"/>
                <a:gd name="connsiteY36" fmla="*/ 100182 h 172875"/>
                <a:gd name="connsiteX37" fmla="*/ 55617 w 158948"/>
                <a:gd name="connsiteY37" fmla="*/ 99571 h 172875"/>
                <a:gd name="connsiteX38" fmla="*/ 55617 w 158948"/>
                <a:gd name="connsiteY38" fmla="*/ 99571 h 172875"/>
                <a:gd name="connsiteX39" fmla="*/ 62951 w 158948"/>
                <a:gd name="connsiteY39" fmla="*/ 87354 h 172875"/>
                <a:gd name="connsiteX40" fmla="*/ 79453 w 158948"/>
                <a:gd name="connsiteY40" fmla="*/ 90408 h 172875"/>
                <a:gd name="connsiteX41" fmla="*/ 95955 w 158948"/>
                <a:gd name="connsiteY41" fmla="*/ 87354 h 172875"/>
                <a:gd name="connsiteX42" fmla="*/ 103289 w 158948"/>
                <a:gd name="connsiteY42" fmla="*/ 99571 h 172875"/>
                <a:gd name="connsiteX43" fmla="*/ 103289 w 158948"/>
                <a:gd name="connsiteY43" fmla="*/ 99571 h 172875"/>
                <a:gd name="connsiteX44" fmla="*/ 103901 w 158948"/>
                <a:gd name="connsiteY44" fmla="*/ 100182 h 172875"/>
                <a:gd name="connsiteX45" fmla="*/ 104512 w 158948"/>
                <a:gd name="connsiteY45" fmla="*/ 100182 h 172875"/>
                <a:gd name="connsiteX46" fmla="*/ 104512 w 158948"/>
                <a:gd name="connsiteY46" fmla="*/ 100182 h 172875"/>
                <a:gd name="connsiteX47" fmla="*/ 108179 w 158948"/>
                <a:gd name="connsiteY47" fmla="*/ 100793 h 172875"/>
                <a:gd name="connsiteX48" fmla="*/ 79453 w 158948"/>
                <a:gd name="connsiteY48" fmla="*/ 119730 h 172875"/>
                <a:gd name="connsiteX49" fmla="*/ 50728 w 158948"/>
                <a:gd name="connsiteY49" fmla="*/ 101404 h 172875"/>
                <a:gd name="connsiteX50" fmla="*/ 54395 w 158948"/>
                <a:gd name="connsiteY50" fmla="*/ 100182 h 172875"/>
                <a:gd name="connsiteX51" fmla="*/ 146072 w 158948"/>
                <a:gd name="connsiteY51" fmla="*/ 153939 h 172875"/>
                <a:gd name="connsiteX52" fmla="*/ 79453 w 158948"/>
                <a:gd name="connsiteY52" fmla="*/ 167988 h 172875"/>
                <a:gd name="connsiteX53" fmla="*/ 12835 w 158948"/>
                <a:gd name="connsiteY53" fmla="*/ 153939 h 172875"/>
                <a:gd name="connsiteX54" fmla="*/ 5500 w 158948"/>
                <a:gd name="connsiteY54" fmla="*/ 141110 h 172875"/>
                <a:gd name="connsiteX55" fmla="*/ 5500 w 158948"/>
                <a:gd name="connsiteY55" fmla="*/ 133169 h 172875"/>
                <a:gd name="connsiteX56" fmla="*/ 18335 w 158948"/>
                <a:gd name="connsiteY56" fmla="*/ 111789 h 172875"/>
                <a:gd name="connsiteX57" fmla="*/ 35448 w 158948"/>
                <a:gd name="connsiteY57" fmla="*/ 104458 h 172875"/>
                <a:gd name="connsiteX58" fmla="*/ 43394 w 158948"/>
                <a:gd name="connsiteY58" fmla="*/ 102015 h 172875"/>
                <a:gd name="connsiteX59" fmla="*/ 44616 w 158948"/>
                <a:gd name="connsiteY59" fmla="*/ 102015 h 172875"/>
                <a:gd name="connsiteX60" fmla="*/ 78842 w 158948"/>
                <a:gd name="connsiteY60" fmla="*/ 125228 h 172875"/>
                <a:gd name="connsiteX61" fmla="*/ 113068 w 158948"/>
                <a:gd name="connsiteY61" fmla="*/ 102015 h 172875"/>
                <a:gd name="connsiteX62" fmla="*/ 114291 w 158948"/>
                <a:gd name="connsiteY62" fmla="*/ 102626 h 172875"/>
                <a:gd name="connsiteX63" fmla="*/ 122236 w 158948"/>
                <a:gd name="connsiteY63" fmla="*/ 105069 h 172875"/>
                <a:gd name="connsiteX64" fmla="*/ 139349 w 158948"/>
                <a:gd name="connsiteY64" fmla="*/ 112400 h 172875"/>
                <a:gd name="connsiteX65" fmla="*/ 152184 w 158948"/>
                <a:gd name="connsiteY65" fmla="*/ 133780 h 172875"/>
                <a:gd name="connsiteX66" fmla="*/ 152184 w 158948"/>
                <a:gd name="connsiteY66" fmla="*/ 141721 h 172875"/>
                <a:gd name="connsiteX67" fmla="*/ 146072 w 158948"/>
                <a:gd name="connsiteY67" fmla="*/ 153939 h 172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158948" h="172875">
                  <a:moveTo>
                    <a:pt x="143627" y="106291"/>
                  </a:moveTo>
                  <a:cubicBezTo>
                    <a:pt x="142405" y="105680"/>
                    <a:pt x="141182" y="105069"/>
                    <a:pt x="139960" y="104458"/>
                  </a:cubicBezTo>
                  <a:cubicBezTo>
                    <a:pt x="136904" y="102626"/>
                    <a:pt x="127736" y="99571"/>
                    <a:pt x="127736" y="99571"/>
                  </a:cubicBezTo>
                  <a:lnTo>
                    <a:pt x="127736" y="99571"/>
                  </a:lnTo>
                  <a:cubicBezTo>
                    <a:pt x="126514" y="98961"/>
                    <a:pt x="125903" y="98961"/>
                    <a:pt x="124680" y="98350"/>
                  </a:cubicBezTo>
                  <a:cubicBezTo>
                    <a:pt x="121625" y="97128"/>
                    <a:pt x="119180" y="96517"/>
                    <a:pt x="116735" y="95906"/>
                  </a:cubicBezTo>
                  <a:cubicBezTo>
                    <a:pt x="113679" y="94684"/>
                    <a:pt x="110012" y="94074"/>
                    <a:pt x="106956" y="93463"/>
                  </a:cubicBezTo>
                  <a:cubicBezTo>
                    <a:pt x="104512" y="91019"/>
                    <a:pt x="102678" y="87354"/>
                    <a:pt x="101456" y="83689"/>
                  </a:cubicBezTo>
                  <a:cubicBezTo>
                    <a:pt x="114902" y="75748"/>
                    <a:pt x="124069" y="61698"/>
                    <a:pt x="124069" y="44593"/>
                  </a:cubicBezTo>
                  <a:cubicBezTo>
                    <a:pt x="124069" y="20159"/>
                    <a:pt x="103901" y="0"/>
                    <a:pt x="79453" y="0"/>
                  </a:cubicBezTo>
                  <a:cubicBezTo>
                    <a:pt x="55006" y="0"/>
                    <a:pt x="34837" y="20159"/>
                    <a:pt x="34837" y="44593"/>
                  </a:cubicBezTo>
                  <a:cubicBezTo>
                    <a:pt x="34837" y="61087"/>
                    <a:pt x="44005" y="75748"/>
                    <a:pt x="57451" y="83689"/>
                  </a:cubicBezTo>
                  <a:cubicBezTo>
                    <a:pt x="56229" y="87354"/>
                    <a:pt x="54395" y="91019"/>
                    <a:pt x="51950" y="94074"/>
                  </a:cubicBezTo>
                  <a:cubicBezTo>
                    <a:pt x="45838" y="95295"/>
                    <a:pt x="42171" y="95906"/>
                    <a:pt x="42171" y="95906"/>
                  </a:cubicBezTo>
                  <a:cubicBezTo>
                    <a:pt x="39727" y="96517"/>
                    <a:pt x="37282" y="97128"/>
                    <a:pt x="34226" y="98350"/>
                  </a:cubicBezTo>
                  <a:cubicBezTo>
                    <a:pt x="32392" y="98961"/>
                    <a:pt x="30559" y="99571"/>
                    <a:pt x="28726" y="100182"/>
                  </a:cubicBezTo>
                  <a:cubicBezTo>
                    <a:pt x="28726" y="100182"/>
                    <a:pt x="28726" y="100182"/>
                    <a:pt x="28726" y="100182"/>
                  </a:cubicBezTo>
                  <a:cubicBezTo>
                    <a:pt x="26892" y="100793"/>
                    <a:pt x="25058" y="102015"/>
                    <a:pt x="23225" y="102626"/>
                  </a:cubicBezTo>
                  <a:cubicBezTo>
                    <a:pt x="23225" y="102626"/>
                    <a:pt x="23225" y="102626"/>
                    <a:pt x="23225" y="102626"/>
                  </a:cubicBezTo>
                  <a:cubicBezTo>
                    <a:pt x="20780" y="103847"/>
                    <a:pt x="18335" y="105069"/>
                    <a:pt x="15891" y="106291"/>
                  </a:cubicBezTo>
                  <a:cubicBezTo>
                    <a:pt x="6112" y="111178"/>
                    <a:pt x="0" y="121563"/>
                    <a:pt x="0" y="132558"/>
                  </a:cubicBezTo>
                  <a:lnTo>
                    <a:pt x="0" y="140499"/>
                  </a:lnTo>
                  <a:cubicBezTo>
                    <a:pt x="0" y="147830"/>
                    <a:pt x="4278" y="154549"/>
                    <a:pt x="10390" y="158215"/>
                  </a:cubicBezTo>
                  <a:cubicBezTo>
                    <a:pt x="22614" y="164934"/>
                    <a:pt x="45227" y="172875"/>
                    <a:pt x="79453" y="172875"/>
                  </a:cubicBezTo>
                  <a:cubicBezTo>
                    <a:pt x="113679" y="172875"/>
                    <a:pt x="136293" y="164934"/>
                    <a:pt x="148517" y="158215"/>
                  </a:cubicBezTo>
                  <a:cubicBezTo>
                    <a:pt x="155239" y="154549"/>
                    <a:pt x="158907" y="147830"/>
                    <a:pt x="158907" y="140499"/>
                  </a:cubicBezTo>
                  <a:lnTo>
                    <a:pt x="158907" y="132558"/>
                  </a:lnTo>
                  <a:cubicBezTo>
                    <a:pt x="159518" y="121563"/>
                    <a:pt x="153406" y="111789"/>
                    <a:pt x="143627" y="106291"/>
                  </a:cubicBezTo>
                  <a:close/>
                  <a:moveTo>
                    <a:pt x="40338" y="45204"/>
                  </a:moveTo>
                  <a:cubicBezTo>
                    <a:pt x="40338" y="23213"/>
                    <a:pt x="58062" y="5498"/>
                    <a:pt x="80064" y="5498"/>
                  </a:cubicBezTo>
                  <a:cubicBezTo>
                    <a:pt x="102067" y="5498"/>
                    <a:pt x="119791" y="23213"/>
                    <a:pt x="119791" y="45204"/>
                  </a:cubicBezTo>
                  <a:cubicBezTo>
                    <a:pt x="119791" y="67195"/>
                    <a:pt x="102067" y="84911"/>
                    <a:pt x="80064" y="84911"/>
                  </a:cubicBezTo>
                  <a:cubicBezTo>
                    <a:pt x="58062" y="84911"/>
                    <a:pt x="40338" y="67195"/>
                    <a:pt x="40338" y="45204"/>
                  </a:cubicBezTo>
                  <a:close/>
                  <a:moveTo>
                    <a:pt x="54395" y="100182"/>
                  </a:moveTo>
                  <a:lnTo>
                    <a:pt x="54395" y="100182"/>
                  </a:lnTo>
                  <a:cubicBezTo>
                    <a:pt x="55006" y="100182"/>
                    <a:pt x="55006" y="100182"/>
                    <a:pt x="54395" y="100182"/>
                  </a:cubicBezTo>
                  <a:cubicBezTo>
                    <a:pt x="55006" y="100182"/>
                    <a:pt x="55006" y="100182"/>
                    <a:pt x="55006" y="100182"/>
                  </a:cubicBezTo>
                  <a:lnTo>
                    <a:pt x="55617" y="99571"/>
                  </a:lnTo>
                  <a:cubicBezTo>
                    <a:pt x="55617" y="99571"/>
                    <a:pt x="55617" y="99571"/>
                    <a:pt x="55617" y="99571"/>
                  </a:cubicBezTo>
                  <a:cubicBezTo>
                    <a:pt x="59285" y="95906"/>
                    <a:pt x="61729" y="91630"/>
                    <a:pt x="62951" y="87354"/>
                  </a:cubicBezTo>
                  <a:cubicBezTo>
                    <a:pt x="67841" y="89187"/>
                    <a:pt x="73342" y="90408"/>
                    <a:pt x="79453" y="90408"/>
                  </a:cubicBezTo>
                  <a:cubicBezTo>
                    <a:pt x="85565" y="90408"/>
                    <a:pt x="91066" y="89187"/>
                    <a:pt x="95955" y="87354"/>
                  </a:cubicBezTo>
                  <a:cubicBezTo>
                    <a:pt x="97177" y="91630"/>
                    <a:pt x="99622" y="95906"/>
                    <a:pt x="103289" y="99571"/>
                  </a:cubicBezTo>
                  <a:cubicBezTo>
                    <a:pt x="103289" y="99571"/>
                    <a:pt x="103289" y="99571"/>
                    <a:pt x="103289" y="99571"/>
                  </a:cubicBezTo>
                  <a:cubicBezTo>
                    <a:pt x="103289" y="99571"/>
                    <a:pt x="103901" y="99571"/>
                    <a:pt x="103901" y="100182"/>
                  </a:cubicBezTo>
                  <a:cubicBezTo>
                    <a:pt x="103901" y="100182"/>
                    <a:pt x="104512" y="100182"/>
                    <a:pt x="104512" y="100182"/>
                  </a:cubicBezTo>
                  <a:cubicBezTo>
                    <a:pt x="104512" y="100182"/>
                    <a:pt x="104512" y="100182"/>
                    <a:pt x="104512" y="100182"/>
                  </a:cubicBezTo>
                  <a:cubicBezTo>
                    <a:pt x="105734" y="100182"/>
                    <a:pt x="106956" y="100793"/>
                    <a:pt x="108179" y="100793"/>
                  </a:cubicBezTo>
                  <a:cubicBezTo>
                    <a:pt x="106956" y="111178"/>
                    <a:pt x="94733" y="119730"/>
                    <a:pt x="79453" y="119730"/>
                  </a:cubicBezTo>
                  <a:cubicBezTo>
                    <a:pt x="64174" y="119730"/>
                    <a:pt x="52561" y="111789"/>
                    <a:pt x="50728" y="101404"/>
                  </a:cubicBezTo>
                  <a:cubicBezTo>
                    <a:pt x="51950" y="100182"/>
                    <a:pt x="53173" y="100182"/>
                    <a:pt x="54395" y="100182"/>
                  </a:cubicBezTo>
                  <a:close/>
                  <a:moveTo>
                    <a:pt x="146072" y="153939"/>
                  </a:moveTo>
                  <a:cubicBezTo>
                    <a:pt x="136293" y="159436"/>
                    <a:pt x="114902" y="167988"/>
                    <a:pt x="79453" y="167988"/>
                  </a:cubicBezTo>
                  <a:cubicBezTo>
                    <a:pt x="44616" y="167988"/>
                    <a:pt x="22614" y="159436"/>
                    <a:pt x="12835" y="153939"/>
                  </a:cubicBezTo>
                  <a:cubicBezTo>
                    <a:pt x="8556" y="151495"/>
                    <a:pt x="5500" y="146608"/>
                    <a:pt x="5500" y="141110"/>
                  </a:cubicBezTo>
                  <a:lnTo>
                    <a:pt x="5500" y="133169"/>
                  </a:lnTo>
                  <a:cubicBezTo>
                    <a:pt x="5500" y="124006"/>
                    <a:pt x="10390" y="116065"/>
                    <a:pt x="18335" y="111789"/>
                  </a:cubicBezTo>
                  <a:cubicBezTo>
                    <a:pt x="23836" y="108734"/>
                    <a:pt x="29948" y="106291"/>
                    <a:pt x="35448" y="104458"/>
                  </a:cubicBezTo>
                  <a:cubicBezTo>
                    <a:pt x="38504" y="103237"/>
                    <a:pt x="40949" y="102626"/>
                    <a:pt x="43394" y="102015"/>
                  </a:cubicBezTo>
                  <a:lnTo>
                    <a:pt x="44616" y="102015"/>
                  </a:lnTo>
                  <a:cubicBezTo>
                    <a:pt x="47061" y="114843"/>
                    <a:pt x="61729" y="125228"/>
                    <a:pt x="78842" y="125228"/>
                  </a:cubicBezTo>
                  <a:cubicBezTo>
                    <a:pt x="95955" y="125228"/>
                    <a:pt x="110623" y="114843"/>
                    <a:pt x="113068" y="102015"/>
                  </a:cubicBezTo>
                  <a:cubicBezTo>
                    <a:pt x="113679" y="102015"/>
                    <a:pt x="113679" y="102015"/>
                    <a:pt x="114291" y="102626"/>
                  </a:cubicBezTo>
                  <a:cubicBezTo>
                    <a:pt x="116735" y="103237"/>
                    <a:pt x="119180" y="103847"/>
                    <a:pt x="122236" y="105069"/>
                  </a:cubicBezTo>
                  <a:cubicBezTo>
                    <a:pt x="128348" y="106902"/>
                    <a:pt x="133848" y="109345"/>
                    <a:pt x="139349" y="112400"/>
                  </a:cubicBezTo>
                  <a:cubicBezTo>
                    <a:pt x="147294" y="116676"/>
                    <a:pt x="152184" y="124617"/>
                    <a:pt x="152184" y="133780"/>
                  </a:cubicBezTo>
                  <a:lnTo>
                    <a:pt x="152184" y="141721"/>
                  </a:lnTo>
                  <a:cubicBezTo>
                    <a:pt x="153406" y="146608"/>
                    <a:pt x="150962" y="150884"/>
                    <a:pt x="146072" y="153939"/>
                  </a:cubicBezTo>
                  <a:close/>
                </a:path>
              </a:pathLst>
            </a:custGeom>
            <a:solidFill>
              <a:srgbClr val="2473B9"/>
            </a:solidFill>
            <a:ln w="61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</p:grpSp>
      <p:grpSp>
        <p:nvGrpSpPr>
          <p:cNvPr id="44" name="Group 43">
            <a:extLst>
              <a:ext uri="{FF2B5EF4-FFF2-40B4-BE49-F238E27FC236}">
                <a16:creationId xmlns:a16="http://schemas.microsoft.com/office/drawing/2014/main" id="{D20F577E-5020-874E-84B0-DBED96A48BEB}"/>
              </a:ext>
            </a:extLst>
          </p:cNvPr>
          <p:cNvGrpSpPr/>
          <p:nvPr/>
        </p:nvGrpSpPr>
        <p:grpSpPr>
          <a:xfrm>
            <a:off x="6618604" y="2767437"/>
            <a:ext cx="853440" cy="853440"/>
            <a:chOff x="4243624" y="656353"/>
            <a:chExt cx="640080" cy="640080"/>
          </a:xfrm>
        </p:grpSpPr>
        <p:sp>
          <p:nvSpPr>
            <p:cNvPr id="45" name="Oval 44">
              <a:extLst>
                <a:ext uri="{FF2B5EF4-FFF2-40B4-BE49-F238E27FC236}">
                  <a16:creationId xmlns:a16="http://schemas.microsoft.com/office/drawing/2014/main" id="{48644C68-96EA-0541-9E12-92349C444B47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243624" y="656353"/>
              <a:ext cx="640080" cy="64008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46" name="Graphic 11">
              <a:extLst>
                <a:ext uri="{FF2B5EF4-FFF2-40B4-BE49-F238E27FC236}">
                  <a16:creationId xmlns:a16="http://schemas.microsoft.com/office/drawing/2014/main" id="{A7AC9006-2B98-7F44-839A-48686CA9BC63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378703" y="775225"/>
              <a:ext cx="369923" cy="402336"/>
            </a:xfrm>
            <a:custGeom>
              <a:avLst/>
              <a:gdLst>
                <a:gd name="connsiteX0" fmla="*/ 143627 w 158948"/>
                <a:gd name="connsiteY0" fmla="*/ 106291 h 172875"/>
                <a:gd name="connsiteX1" fmla="*/ 139960 w 158948"/>
                <a:gd name="connsiteY1" fmla="*/ 104458 h 172875"/>
                <a:gd name="connsiteX2" fmla="*/ 127736 w 158948"/>
                <a:gd name="connsiteY2" fmla="*/ 99571 h 172875"/>
                <a:gd name="connsiteX3" fmla="*/ 127736 w 158948"/>
                <a:gd name="connsiteY3" fmla="*/ 99571 h 172875"/>
                <a:gd name="connsiteX4" fmla="*/ 124680 w 158948"/>
                <a:gd name="connsiteY4" fmla="*/ 98350 h 172875"/>
                <a:gd name="connsiteX5" fmla="*/ 116735 w 158948"/>
                <a:gd name="connsiteY5" fmla="*/ 95906 h 172875"/>
                <a:gd name="connsiteX6" fmla="*/ 106956 w 158948"/>
                <a:gd name="connsiteY6" fmla="*/ 93463 h 172875"/>
                <a:gd name="connsiteX7" fmla="*/ 101456 w 158948"/>
                <a:gd name="connsiteY7" fmla="*/ 83689 h 172875"/>
                <a:gd name="connsiteX8" fmla="*/ 124069 w 158948"/>
                <a:gd name="connsiteY8" fmla="*/ 44593 h 172875"/>
                <a:gd name="connsiteX9" fmla="*/ 79453 w 158948"/>
                <a:gd name="connsiteY9" fmla="*/ 0 h 172875"/>
                <a:gd name="connsiteX10" fmla="*/ 34837 w 158948"/>
                <a:gd name="connsiteY10" fmla="*/ 44593 h 172875"/>
                <a:gd name="connsiteX11" fmla="*/ 57451 w 158948"/>
                <a:gd name="connsiteY11" fmla="*/ 83689 h 172875"/>
                <a:gd name="connsiteX12" fmla="*/ 51950 w 158948"/>
                <a:gd name="connsiteY12" fmla="*/ 94074 h 172875"/>
                <a:gd name="connsiteX13" fmla="*/ 42171 w 158948"/>
                <a:gd name="connsiteY13" fmla="*/ 95906 h 172875"/>
                <a:gd name="connsiteX14" fmla="*/ 34226 w 158948"/>
                <a:gd name="connsiteY14" fmla="*/ 98350 h 172875"/>
                <a:gd name="connsiteX15" fmla="*/ 28726 w 158948"/>
                <a:gd name="connsiteY15" fmla="*/ 100182 h 172875"/>
                <a:gd name="connsiteX16" fmla="*/ 28726 w 158948"/>
                <a:gd name="connsiteY16" fmla="*/ 100182 h 172875"/>
                <a:gd name="connsiteX17" fmla="*/ 23225 w 158948"/>
                <a:gd name="connsiteY17" fmla="*/ 102626 h 172875"/>
                <a:gd name="connsiteX18" fmla="*/ 23225 w 158948"/>
                <a:gd name="connsiteY18" fmla="*/ 102626 h 172875"/>
                <a:gd name="connsiteX19" fmla="*/ 15891 w 158948"/>
                <a:gd name="connsiteY19" fmla="*/ 106291 h 172875"/>
                <a:gd name="connsiteX20" fmla="*/ 0 w 158948"/>
                <a:gd name="connsiteY20" fmla="*/ 132558 h 172875"/>
                <a:gd name="connsiteX21" fmla="*/ 0 w 158948"/>
                <a:gd name="connsiteY21" fmla="*/ 140499 h 172875"/>
                <a:gd name="connsiteX22" fmla="*/ 10390 w 158948"/>
                <a:gd name="connsiteY22" fmla="*/ 158215 h 172875"/>
                <a:gd name="connsiteX23" fmla="*/ 79453 w 158948"/>
                <a:gd name="connsiteY23" fmla="*/ 172875 h 172875"/>
                <a:gd name="connsiteX24" fmla="*/ 148517 w 158948"/>
                <a:gd name="connsiteY24" fmla="*/ 158215 h 172875"/>
                <a:gd name="connsiteX25" fmla="*/ 158907 w 158948"/>
                <a:gd name="connsiteY25" fmla="*/ 140499 h 172875"/>
                <a:gd name="connsiteX26" fmla="*/ 158907 w 158948"/>
                <a:gd name="connsiteY26" fmla="*/ 132558 h 172875"/>
                <a:gd name="connsiteX27" fmla="*/ 143627 w 158948"/>
                <a:gd name="connsiteY27" fmla="*/ 106291 h 172875"/>
                <a:gd name="connsiteX28" fmla="*/ 40338 w 158948"/>
                <a:gd name="connsiteY28" fmla="*/ 45204 h 172875"/>
                <a:gd name="connsiteX29" fmla="*/ 80064 w 158948"/>
                <a:gd name="connsiteY29" fmla="*/ 5498 h 172875"/>
                <a:gd name="connsiteX30" fmla="*/ 119791 w 158948"/>
                <a:gd name="connsiteY30" fmla="*/ 45204 h 172875"/>
                <a:gd name="connsiteX31" fmla="*/ 80064 w 158948"/>
                <a:gd name="connsiteY31" fmla="*/ 84911 h 172875"/>
                <a:gd name="connsiteX32" fmla="*/ 40338 w 158948"/>
                <a:gd name="connsiteY32" fmla="*/ 45204 h 172875"/>
                <a:gd name="connsiteX33" fmla="*/ 54395 w 158948"/>
                <a:gd name="connsiteY33" fmla="*/ 100182 h 172875"/>
                <a:gd name="connsiteX34" fmla="*/ 54395 w 158948"/>
                <a:gd name="connsiteY34" fmla="*/ 100182 h 172875"/>
                <a:gd name="connsiteX35" fmla="*/ 54395 w 158948"/>
                <a:gd name="connsiteY35" fmla="*/ 100182 h 172875"/>
                <a:gd name="connsiteX36" fmla="*/ 55006 w 158948"/>
                <a:gd name="connsiteY36" fmla="*/ 100182 h 172875"/>
                <a:gd name="connsiteX37" fmla="*/ 55617 w 158948"/>
                <a:gd name="connsiteY37" fmla="*/ 99571 h 172875"/>
                <a:gd name="connsiteX38" fmla="*/ 55617 w 158948"/>
                <a:gd name="connsiteY38" fmla="*/ 99571 h 172875"/>
                <a:gd name="connsiteX39" fmla="*/ 62951 w 158948"/>
                <a:gd name="connsiteY39" fmla="*/ 87354 h 172875"/>
                <a:gd name="connsiteX40" fmla="*/ 79453 w 158948"/>
                <a:gd name="connsiteY40" fmla="*/ 90408 h 172875"/>
                <a:gd name="connsiteX41" fmla="*/ 95955 w 158948"/>
                <a:gd name="connsiteY41" fmla="*/ 87354 h 172875"/>
                <a:gd name="connsiteX42" fmla="*/ 103289 w 158948"/>
                <a:gd name="connsiteY42" fmla="*/ 99571 h 172875"/>
                <a:gd name="connsiteX43" fmla="*/ 103289 w 158948"/>
                <a:gd name="connsiteY43" fmla="*/ 99571 h 172875"/>
                <a:gd name="connsiteX44" fmla="*/ 103901 w 158948"/>
                <a:gd name="connsiteY44" fmla="*/ 100182 h 172875"/>
                <a:gd name="connsiteX45" fmla="*/ 104512 w 158948"/>
                <a:gd name="connsiteY45" fmla="*/ 100182 h 172875"/>
                <a:gd name="connsiteX46" fmla="*/ 104512 w 158948"/>
                <a:gd name="connsiteY46" fmla="*/ 100182 h 172875"/>
                <a:gd name="connsiteX47" fmla="*/ 108179 w 158948"/>
                <a:gd name="connsiteY47" fmla="*/ 100793 h 172875"/>
                <a:gd name="connsiteX48" fmla="*/ 79453 w 158948"/>
                <a:gd name="connsiteY48" fmla="*/ 119730 h 172875"/>
                <a:gd name="connsiteX49" fmla="*/ 50728 w 158948"/>
                <a:gd name="connsiteY49" fmla="*/ 101404 h 172875"/>
                <a:gd name="connsiteX50" fmla="*/ 54395 w 158948"/>
                <a:gd name="connsiteY50" fmla="*/ 100182 h 172875"/>
                <a:gd name="connsiteX51" fmla="*/ 146072 w 158948"/>
                <a:gd name="connsiteY51" fmla="*/ 153939 h 172875"/>
                <a:gd name="connsiteX52" fmla="*/ 79453 w 158948"/>
                <a:gd name="connsiteY52" fmla="*/ 167988 h 172875"/>
                <a:gd name="connsiteX53" fmla="*/ 12835 w 158948"/>
                <a:gd name="connsiteY53" fmla="*/ 153939 h 172875"/>
                <a:gd name="connsiteX54" fmla="*/ 5500 w 158948"/>
                <a:gd name="connsiteY54" fmla="*/ 141110 h 172875"/>
                <a:gd name="connsiteX55" fmla="*/ 5500 w 158948"/>
                <a:gd name="connsiteY55" fmla="*/ 133169 h 172875"/>
                <a:gd name="connsiteX56" fmla="*/ 18335 w 158948"/>
                <a:gd name="connsiteY56" fmla="*/ 111789 h 172875"/>
                <a:gd name="connsiteX57" fmla="*/ 35448 w 158948"/>
                <a:gd name="connsiteY57" fmla="*/ 104458 h 172875"/>
                <a:gd name="connsiteX58" fmla="*/ 43394 w 158948"/>
                <a:gd name="connsiteY58" fmla="*/ 102015 h 172875"/>
                <a:gd name="connsiteX59" fmla="*/ 44616 w 158948"/>
                <a:gd name="connsiteY59" fmla="*/ 102015 h 172875"/>
                <a:gd name="connsiteX60" fmla="*/ 78842 w 158948"/>
                <a:gd name="connsiteY60" fmla="*/ 125228 h 172875"/>
                <a:gd name="connsiteX61" fmla="*/ 113068 w 158948"/>
                <a:gd name="connsiteY61" fmla="*/ 102015 h 172875"/>
                <a:gd name="connsiteX62" fmla="*/ 114291 w 158948"/>
                <a:gd name="connsiteY62" fmla="*/ 102626 h 172875"/>
                <a:gd name="connsiteX63" fmla="*/ 122236 w 158948"/>
                <a:gd name="connsiteY63" fmla="*/ 105069 h 172875"/>
                <a:gd name="connsiteX64" fmla="*/ 139349 w 158948"/>
                <a:gd name="connsiteY64" fmla="*/ 112400 h 172875"/>
                <a:gd name="connsiteX65" fmla="*/ 152184 w 158948"/>
                <a:gd name="connsiteY65" fmla="*/ 133780 h 172875"/>
                <a:gd name="connsiteX66" fmla="*/ 152184 w 158948"/>
                <a:gd name="connsiteY66" fmla="*/ 141721 h 172875"/>
                <a:gd name="connsiteX67" fmla="*/ 146072 w 158948"/>
                <a:gd name="connsiteY67" fmla="*/ 153939 h 172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158948" h="172875">
                  <a:moveTo>
                    <a:pt x="143627" y="106291"/>
                  </a:moveTo>
                  <a:cubicBezTo>
                    <a:pt x="142405" y="105680"/>
                    <a:pt x="141182" y="105069"/>
                    <a:pt x="139960" y="104458"/>
                  </a:cubicBezTo>
                  <a:cubicBezTo>
                    <a:pt x="136904" y="102626"/>
                    <a:pt x="127736" y="99571"/>
                    <a:pt x="127736" y="99571"/>
                  </a:cubicBezTo>
                  <a:lnTo>
                    <a:pt x="127736" y="99571"/>
                  </a:lnTo>
                  <a:cubicBezTo>
                    <a:pt x="126514" y="98961"/>
                    <a:pt x="125903" y="98961"/>
                    <a:pt x="124680" y="98350"/>
                  </a:cubicBezTo>
                  <a:cubicBezTo>
                    <a:pt x="121625" y="97128"/>
                    <a:pt x="119180" y="96517"/>
                    <a:pt x="116735" y="95906"/>
                  </a:cubicBezTo>
                  <a:cubicBezTo>
                    <a:pt x="113679" y="94684"/>
                    <a:pt x="110012" y="94074"/>
                    <a:pt x="106956" y="93463"/>
                  </a:cubicBezTo>
                  <a:cubicBezTo>
                    <a:pt x="104512" y="91019"/>
                    <a:pt x="102678" y="87354"/>
                    <a:pt x="101456" y="83689"/>
                  </a:cubicBezTo>
                  <a:cubicBezTo>
                    <a:pt x="114902" y="75748"/>
                    <a:pt x="124069" y="61698"/>
                    <a:pt x="124069" y="44593"/>
                  </a:cubicBezTo>
                  <a:cubicBezTo>
                    <a:pt x="124069" y="20159"/>
                    <a:pt x="103901" y="0"/>
                    <a:pt x="79453" y="0"/>
                  </a:cubicBezTo>
                  <a:cubicBezTo>
                    <a:pt x="55006" y="0"/>
                    <a:pt x="34837" y="20159"/>
                    <a:pt x="34837" y="44593"/>
                  </a:cubicBezTo>
                  <a:cubicBezTo>
                    <a:pt x="34837" y="61087"/>
                    <a:pt x="44005" y="75748"/>
                    <a:pt x="57451" y="83689"/>
                  </a:cubicBezTo>
                  <a:cubicBezTo>
                    <a:pt x="56229" y="87354"/>
                    <a:pt x="54395" y="91019"/>
                    <a:pt x="51950" y="94074"/>
                  </a:cubicBezTo>
                  <a:cubicBezTo>
                    <a:pt x="45838" y="95295"/>
                    <a:pt x="42171" y="95906"/>
                    <a:pt x="42171" y="95906"/>
                  </a:cubicBezTo>
                  <a:cubicBezTo>
                    <a:pt x="39727" y="96517"/>
                    <a:pt x="37282" y="97128"/>
                    <a:pt x="34226" y="98350"/>
                  </a:cubicBezTo>
                  <a:cubicBezTo>
                    <a:pt x="32392" y="98961"/>
                    <a:pt x="30559" y="99571"/>
                    <a:pt x="28726" y="100182"/>
                  </a:cubicBezTo>
                  <a:cubicBezTo>
                    <a:pt x="28726" y="100182"/>
                    <a:pt x="28726" y="100182"/>
                    <a:pt x="28726" y="100182"/>
                  </a:cubicBezTo>
                  <a:cubicBezTo>
                    <a:pt x="26892" y="100793"/>
                    <a:pt x="25058" y="102015"/>
                    <a:pt x="23225" y="102626"/>
                  </a:cubicBezTo>
                  <a:cubicBezTo>
                    <a:pt x="23225" y="102626"/>
                    <a:pt x="23225" y="102626"/>
                    <a:pt x="23225" y="102626"/>
                  </a:cubicBezTo>
                  <a:cubicBezTo>
                    <a:pt x="20780" y="103847"/>
                    <a:pt x="18335" y="105069"/>
                    <a:pt x="15891" y="106291"/>
                  </a:cubicBezTo>
                  <a:cubicBezTo>
                    <a:pt x="6112" y="111178"/>
                    <a:pt x="0" y="121563"/>
                    <a:pt x="0" y="132558"/>
                  </a:cubicBezTo>
                  <a:lnTo>
                    <a:pt x="0" y="140499"/>
                  </a:lnTo>
                  <a:cubicBezTo>
                    <a:pt x="0" y="147830"/>
                    <a:pt x="4278" y="154549"/>
                    <a:pt x="10390" y="158215"/>
                  </a:cubicBezTo>
                  <a:cubicBezTo>
                    <a:pt x="22614" y="164934"/>
                    <a:pt x="45227" y="172875"/>
                    <a:pt x="79453" y="172875"/>
                  </a:cubicBezTo>
                  <a:cubicBezTo>
                    <a:pt x="113679" y="172875"/>
                    <a:pt x="136293" y="164934"/>
                    <a:pt x="148517" y="158215"/>
                  </a:cubicBezTo>
                  <a:cubicBezTo>
                    <a:pt x="155239" y="154549"/>
                    <a:pt x="158907" y="147830"/>
                    <a:pt x="158907" y="140499"/>
                  </a:cubicBezTo>
                  <a:lnTo>
                    <a:pt x="158907" y="132558"/>
                  </a:lnTo>
                  <a:cubicBezTo>
                    <a:pt x="159518" y="121563"/>
                    <a:pt x="153406" y="111789"/>
                    <a:pt x="143627" y="106291"/>
                  </a:cubicBezTo>
                  <a:close/>
                  <a:moveTo>
                    <a:pt x="40338" y="45204"/>
                  </a:moveTo>
                  <a:cubicBezTo>
                    <a:pt x="40338" y="23213"/>
                    <a:pt x="58062" y="5498"/>
                    <a:pt x="80064" y="5498"/>
                  </a:cubicBezTo>
                  <a:cubicBezTo>
                    <a:pt x="102067" y="5498"/>
                    <a:pt x="119791" y="23213"/>
                    <a:pt x="119791" y="45204"/>
                  </a:cubicBezTo>
                  <a:cubicBezTo>
                    <a:pt x="119791" y="67195"/>
                    <a:pt x="102067" y="84911"/>
                    <a:pt x="80064" y="84911"/>
                  </a:cubicBezTo>
                  <a:cubicBezTo>
                    <a:pt x="58062" y="84911"/>
                    <a:pt x="40338" y="67195"/>
                    <a:pt x="40338" y="45204"/>
                  </a:cubicBezTo>
                  <a:close/>
                  <a:moveTo>
                    <a:pt x="54395" y="100182"/>
                  </a:moveTo>
                  <a:lnTo>
                    <a:pt x="54395" y="100182"/>
                  </a:lnTo>
                  <a:cubicBezTo>
                    <a:pt x="55006" y="100182"/>
                    <a:pt x="55006" y="100182"/>
                    <a:pt x="54395" y="100182"/>
                  </a:cubicBezTo>
                  <a:cubicBezTo>
                    <a:pt x="55006" y="100182"/>
                    <a:pt x="55006" y="100182"/>
                    <a:pt x="55006" y="100182"/>
                  </a:cubicBezTo>
                  <a:lnTo>
                    <a:pt x="55617" y="99571"/>
                  </a:lnTo>
                  <a:cubicBezTo>
                    <a:pt x="55617" y="99571"/>
                    <a:pt x="55617" y="99571"/>
                    <a:pt x="55617" y="99571"/>
                  </a:cubicBezTo>
                  <a:cubicBezTo>
                    <a:pt x="59285" y="95906"/>
                    <a:pt x="61729" y="91630"/>
                    <a:pt x="62951" y="87354"/>
                  </a:cubicBezTo>
                  <a:cubicBezTo>
                    <a:pt x="67841" y="89187"/>
                    <a:pt x="73342" y="90408"/>
                    <a:pt x="79453" y="90408"/>
                  </a:cubicBezTo>
                  <a:cubicBezTo>
                    <a:pt x="85565" y="90408"/>
                    <a:pt x="91066" y="89187"/>
                    <a:pt x="95955" y="87354"/>
                  </a:cubicBezTo>
                  <a:cubicBezTo>
                    <a:pt x="97177" y="91630"/>
                    <a:pt x="99622" y="95906"/>
                    <a:pt x="103289" y="99571"/>
                  </a:cubicBezTo>
                  <a:cubicBezTo>
                    <a:pt x="103289" y="99571"/>
                    <a:pt x="103289" y="99571"/>
                    <a:pt x="103289" y="99571"/>
                  </a:cubicBezTo>
                  <a:cubicBezTo>
                    <a:pt x="103289" y="99571"/>
                    <a:pt x="103901" y="99571"/>
                    <a:pt x="103901" y="100182"/>
                  </a:cubicBezTo>
                  <a:cubicBezTo>
                    <a:pt x="103901" y="100182"/>
                    <a:pt x="104512" y="100182"/>
                    <a:pt x="104512" y="100182"/>
                  </a:cubicBezTo>
                  <a:cubicBezTo>
                    <a:pt x="104512" y="100182"/>
                    <a:pt x="104512" y="100182"/>
                    <a:pt x="104512" y="100182"/>
                  </a:cubicBezTo>
                  <a:cubicBezTo>
                    <a:pt x="105734" y="100182"/>
                    <a:pt x="106956" y="100793"/>
                    <a:pt x="108179" y="100793"/>
                  </a:cubicBezTo>
                  <a:cubicBezTo>
                    <a:pt x="106956" y="111178"/>
                    <a:pt x="94733" y="119730"/>
                    <a:pt x="79453" y="119730"/>
                  </a:cubicBezTo>
                  <a:cubicBezTo>
                    <a:pt x="64174" y="119730"/>
                    <a:pt x="52561" y="111789"/>
                    <a:pt x="50728" y="101404"/>
                  </a:cubicBezTo>
                  <a:cubicBezTo>
                    <a:pt x="51950" y="100182"/>
                    <a:pt x="53173" y="100182"/>
                    <a:pt x="54395" y="100182"/>
                  </a:cubicBezTo>
                  <a:close/>
                  <a:moveTo>
                    <a:pt x="146072" y="153939"/>
                  </a:moveTo>
                  <a:cubicBezTo>
                    <a:pt x="136293" y="159436"/>
                    <a:pt x="114902" y="167988"/>
                    <a:pt x="79453" y="167988"/>
                  </a:cubicBezTo>
                  <a:cubicBezTo>
                    <a:pt x="44616" y="167988"/>
                    <a:pt x="22614" y="159436"/>
                    <a:pt x="12835" y="153939"/>
                  </a:cubicBezTo>
                  <a:cubicBezTo>
                    <a:pt x="8556" y="151495"/>
                    <a:pt x="5500" y="146608"/>
                    <a:pt x="5500" y="141110"/>
                  </a:cubicBezTo>
                  <a:lnTo>
                    <a:pt x="5500" y="133169"/>
                  </a:lnTo>
                  <a:cubicBezTo>
                    <a:pt x="5500" y="124006"/>
                    <a:pt x="10390" y="116065"/>
                    <a:pt x="18335" y="111789"/>
                  </a:cubicBezTo>
                  <a:cubicBezTo>
                    <a:pt x="23836" y="108734"/>
                    <a:pt x="29948" y="106291"/>
                    <a:pt x="35448" y="104458"/>
                  </a:cubicBezTo>
                  <a:cubicBezTo>
                    <a:pt x="38504" y="103237"/>
                    <a:pt x="40949" y="102626"/>
                    <a:pt x="43394" y="102015"/>
                  </a:cubicBezTo>
                  <a:lnTo>
                    <a:pt x="44616" y="102015"/>
                  </a:lnTo>
                  <a:cubicBezTo>
                    <a:pt x="47061" y="114843"/>
                    <a:pt x="61729" y="125228"/>
                    <a:pt x="78842" y="125228"/>
                  </a:cubicBezTo>
                  <a:cubicBezTo>
                    <a:pt x="95955" y="125228"/>
                    <a:pt x="110623" y="114843"/>
                    <a:pt x="113068" y="102015"/>
                  </a:cubicBezTo>
                  <a:cubicBezTo>
                    <a:pt x="113679" y="102015"/>
                    <a:pt x="113679" y="102015"/>
                    <a:pt x="114291" y="102626"/>
                  </a:cubicBezTo>
                  <a:cubicBezTo>
                    <a:pt x="116735" y="103237"/>
                    <a:pt x="119180" y="103847"/>
                    <a:pt x="122236" y="105069"/>
                  </a:cubicBezTo>
                  <a:cubicBezTo>
                    <a:pt x="128348" y="106902"/>
                    <a:pt x="133848" y="109345"/>
                    <a:pt x="139349" y="112400"/>
                  </a:cubicBezTo>
                  <a:cubicBezTo>
                    <a:pt x="147294" y="116676"/>
                    <a:pt x="152184" y="124617"/>
                    <a:pt x="152184" y="133780"/>
                  </a:cubicBezTo>
                  <a:lnTo>
                    <a:pt x="152184" y="141721"/>
                  </a:lnTo>
                  <a:cubicBezTo>
                    <a:pt x="153406" y="146608"/>
                    <a:pt x="150962" y="150884"/>
                    <a:pt x="146072" y="153939"/>
                  </a:cubicBezTo>
                  <a:close/>
                </a:path>
              </a:pathLst>
            </a:custGeom>
            <a:solidFill>
              <a:srgbClr val="2473B9"/>
            </a:solidFill>
            <a:ln w="61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</p:grpSp>
      <p:grpSp>
        <p:nvGrpSpPr>
          <p:cNvPr id="47" name="Group 46">
            <a:extLst>
              <a:ext uri="{FF2B5EF4-FFF2-40B4-BE49-F238E27FC236}">
                <a16:creationId xmlns:a16="http://schemas.microsoft.com/office/drawing/2014/main" id="{76B09030-FFB8-4844-BF98-F10280FB4D35}"/>
              </a:ext>
            </a:extLst>
          </p:cNvPr>
          <p:cNvGrpSpPr/>
          <p:nvPr/>
        </p:nvGrpSpPr>
        <p:grpSpPr>
          <a:xfrm>
            <a:off x="8542655" y="2767437"/>
            <a:ext cx="853440" cy="853440"/>
            <a:chOff x="4243624" y="656353"/>
            <a:chExt cx="640080" cy="640080"/>
          </a:xfrm>
        </p:grpSpPr>
        <p:sp>
          <p:nvSpPr>
            <p:cNvPr id="48" name="Oval 47">
              <a:extLst>
                <a:ext uri="{FF2B5EF4-FFF2-40B4-BE49-F238E27FC236}">
                  <a16:creationId xmlns:a16="http://schemas.microsoft.com/office/drawing/2014/main" id="{94876CD1-764C-B647-80FC-7EE0212A8F3A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243624" y="656353"/>
              <a:ext cx="640080" cy="64008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49" name="Graphic 11">
              <a:extLst>
                <a:ext uri="{FF2B5EF4-FFF2-40B4-BE49-F238E27FC236}">
                  <a16:creationId xmlns:a16="http://schemas.microsoft.com/office/drawing/2014/main" id="{790BD232-4327-864E-8E29-5825D04F9274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378703" y="775225"/>
              <a:ext cx="369923" cy="402336"/>
            </a:xfrm>
            <a:custGeom>
              <a:avLst/>
              <a:gdLst>
                <a:gd name="connsiteX0" fmla="*/ 143627 w 158948"/>
                <a:gd name="connsiteY0" fmla="*/ 106291 h 172875"/>
                <a:gd name="connsiteX1" fmla="*/ 139960 w 158948"/>
                <a:gd name="connsiteY1" fmla="*/ 104458 h 172875"/>
                <a:gd name="connsiteX2" fmla="*/ 127736 w 158948"/>
                <a:gd name="connsiteY2" fmla="*/ 99571 h 172875"/>
                <a:gd name="connsiteX3" fmla="*/ 127736 w 158948"/>
                <a:gd name="connsiteY3" fmla="*/ 99571 h 172875"/>
                <a:gd name="connsiteX4" fmla="*/ 124680 w 158948"/>
                <a:gd name="connsiteY4" fmla="*/ 98350 h 172875"/>
                <a:gd name="connsiteX5" fmla="*/ 116735 w 158948"/>
                <a:gd name="connsiteY5" fmla="*/ 95906 h 172875"/>
                <a:gd name="connsiteX6" fmla="*/ 106956 w 158948"/>
                <a:gd name="connsiteY6" fmla="*/ 93463 h 172875"/>
                <a:gd name="connsiteX7" fmla="*/ 101456 w 158948"/>
                <a:gd name="connsiteY7" fmla="*/ 83689 h 172875"/>
                <a:gd name="connsiteX8" fmla="*/ 124069 w 158948"/>
                <a:gd name="connsiteY8" fmla="*/ 44593 h 172875"/>
                <a:gd name="connsiteX9" fmla="*/ 79453 w 158948"/>
                <a:gd name="connsiteY9" fmla="*/ 0 h 172875"/>
                <a:gd name="connsiteX10" fmla="*/ 34837 w 158948"/>
                <a:gd name="connsiteY10" fmla="*/ 44593 h 172875"/>
                <a:gd name="connsiteX11" fmla="*/ 57451 w 158948"/>
                <a:gd name="connsiteY11" fmla="*/ 83689 h 172875"/>
                <a:gd name="connsiteX12" fmla="*/ 51950 w 158948"/>
                <a:gd name="connsiteY12" fmla="*/ 94074 h 172875"/>
                <a:gd name="connsiteX13" fmla="*/ 42171 w 158948"/>
                <a:gd name="connsiteY13" fmla="*/ 95906 h 172875"/>
                <a:gd name="connsiteX14" fmla="*/ 34226 w 158948"/>
                <a:gd name="connsiteY14" fmla="*/ 98350 h 172875"/>
                <a:gd name="connsiteX15" fmla="*/ 28726 w 158948"/>
                <a:gd name="connsiteY15" fmla="*/ 100182 h 172875"/>
                <a:gd name="connsiteX16" fmla="*/ 28726 w 158948"/>
                <a:gd name="connsiteY16" fmla="*/ 100182 h 172875"/>
                <a:gd name="connsiteX17" fmla="*/ 23225 w 158948"/>
                <a:gd name="connsiteY17" fmla="*/ 102626 h 172875"/>
                <a:gd name="connsiteX18" fmla="*/ 23225 w 158948"/>
                <a:gd name="connsiteY18" fmla="*/ 102626 h 172875"/>
                <a:gd name="connsiteX19" fmla="*/ 15891 w 158948"/>
                <a:gd name="connsiteY19" fmla="*/ 106291 h 172875"/>
                <a:gd name="connsiteX20" fmla="*/ 0 w 158948"/>
                <a:gd name="connsiteY20" fmla="*/ 132558 h 172875"/>
                <a:gd name="connsiteX21" fmla="*/ 0 w 158948"/>
                <a:gd name="connsiteY21" fmla="*/ 140499 h 172875"/>
                <a:gd name="connsiteX22" fmla="*/ 10390 w 158948"/>
                <a:gd name="connsiteY22" fmla="*/ 158215 h 172875"/>
                <a:gd name="connsiteX23" fmla="*/ 79453 w 158948"/>
                <a:gd name="connsiteY23" fmla="*/ 172875 h 172875"/>
                <a:gd name="connsiteX24" fmla="*/ 148517 w 158948"/>
                <a:gd name="connsiteY24" fmla="*/ 158215 h 172875"/>
                <a:gd name="connsiteX25" fmla="*/ 158907 w 158948"/>
                <a:gd name="connsiteY25" fmla="*/ 140499 h 172875"/>
                <a:gd name="connsiteX26" fmla="*/ 158907 w 158948"/>
                <a:gd name="connsiteY26" fmla="*/ 132558 h 172875"/>
                <a:gd name="connsiteX27" fmla="*/ 143627 w 158948"/>
                <a:gd name="connsiteY27" fmla="*/ 106291 h 172875"/>
                <a:gd name="connsiteX28" fmla="*/ 40338 w 158948"/>
                <a:gd name="connsiteY28" fmla="*/ 45204 h 172875"/>
                <a:gd name="connsiteX29" fmla="*/ 80064 w 158948"/>
                <a:gd name="connsiteY29" fmla="*/ 5498 h 172875"/>
                <a:gd name="connsiteX30" fmla="*/ 119791 w 158948"/>
                <a:gd name="connsiteY30" fmla="*/ 45204 h 172875"/>
                <a:gd name="connsiteX31" fmla="*/ 80064 w 158948"/>
                <a:gd name="connsiteY31" fmla="*/ 84911 h 172875"/>
                <a:gd name="connsiteX32" fmla="*/ 40338 w 158948"/>
                <a:gd name="connsiteY32" fmla="*/ 45204 h 172875"/>
                <a:gd name="connsiteX33" fmla="*/ 54395 w 158948"/>
                <a:gd name="connsiteY33" fmla="*/ 100182 h 172875"/>
                <a:gd name="connsiteX34" fmla="*/ 54395 w 158948"/>
                <a:gd name="connsiteY34" fmla="*/ 100182 h 172875"/>
                <a:gd name="connsiteX35" fmla="*/ 54395 w 158948"/>
                <a:gd name="connsiteY35" fmla="*/ 100182 h 172875"/>
                <a:gd name="connsiteX36" fmla="*/ 55006 w 158948"/>
                <a:gd name="connsiteY36" fmla="*/ 100182 h 172875"/>
                <a:gd name="connsiteX37" fmla="*/ 55617 w 158948"/>
                <a:gd name="connsiteY37" fmla="*/ 99571 h 172875"/>
                <a:gd name="connsiteX38" fmla="*/ 55617 w 158948"/>
                <a:gd name="connsiteY38" fmla="*/ 99571 h 172875"/>
                <a:gd name="connsiteX39" fmla="*/ 62951 w 158948"/>
                <a:gd name="connsiteY39" fmla="*/ 87354 h 172875"/>
                <a:gd name="connsiteX40" fmla="*/ 79453 w 158948"/>
                <a:gd name="connsiteY40" fmla="*/ 90408 h 172875"/>
                <a:gd name="connsiteX41" fmla="*/ 95955 w 158948"/>
                <a:gd name="connsiteY41" fmla="*/ 87354 h 172875"/>
                <a:gd name="connsiteX42" fmla="*/ 103289 w 158948"/>
                <a:gd name="connsiteY42" fmla="*/ 99571 h 172875"/>
                <a:gd name="connsiteX43" fmla="*/ 103289 w 158948"/>
                <a:gd name="connsiteY43" fmla="*/ 99571 h 172875"/>
                <a:gd name="connsiteX44" fmla="*/ 103901 w 158948"/>
                <a:gd name="connsiteY44" fmla="*/ 100182 h 172875"/>
                <a:gd name="connsiteX45" fmla="*/ 104512 w 158948"/>
                <a:gd name="connsiteY45" fmla="*/ 100182 h 172875"/>
                <a:gd name="connsiteX46" fmla="*/ 104512 w 158948"/>
                <a:gd name="connsiteY46" fmla="*/ 100182 h 172875"/>
                <a:gd name="connsiteX47" fmla="*/ 108179 w 158948"/>
                <a:gd name="connsiteY47" fmla="*/ 100793 h 172875"/>
                <a:gd name="connsiteX48" fmla="*/ 79453 w 158948"/>
                <a:gd name="connsiteY48" fmla="*/ 119730 h 172875"/>
                <a:gd name="connsiteX49" fmla="*/ 50728 w 158948"/>
                <a:gd name="connsiteY49" fmla="*/ 101404 h 172875"/>
                <a:gd name="connsiteX50" fmla="*/ 54395 w 158948"/>
                <a:gd name="connsiteY50" fmla="*/ 100182 h 172875"/>
                <a:gd name="connsiteX51" fmla="*/ 146072 w 158948"/>
                <a:gd name="connsiteY51" fmla="*/ 153939 h 172875"/>
                <a:gd name="connsiteX52" fmla="*/ 79453 w 158948"/>
                <a:gd name="connsiteY52" fmla="*/ 167988 h 172875"/>
                <a:gd name="connsiteX53" fmla="*/ 12835 w 158948"/>
                <a:gd name="connsiteY53" fmla="*/ 153939 h 172875"/>
                <a:gd name="connsiteX54" fmla="*/ 5500 w 158948"/>
                <a:gd name="connsiteY54" fmla="*/ 141110 h 172875"/>
                <a:gd name="connsiteX55" fmla="*/ 5500 w 158948"/>
                <a:gd name="connsiteY55" fmla="*/ 133169 h 172875"/>
                <a:gd name="connsiteX56" fmla="*/ 18335 w 158948"/>
                <a:gd name="connsiteY56" fmla="*/ 111789 h 172875"/>
                <a:gd name="connsiteX57" fmla="*/ 35448 w 158948"/>
                <a:gd name="connsiteY57" fmla="*/ 104458 h 172875"/>
                <a:gd name="connsiteX58" fmla="*/ 43394 w 158948"/>
                <a:gd name="connsiteY58" fmla="*/ 102015 h 172875"/>
                <a:gd name="connsiteX59" fmla="*/ 44616 w 158948"/>
                <a:gd name="connsiteY59" fmla="*/ 102015 h 172875"/>
                <a:gd name="connsiteX60" fmla="*/ 78842 w 158948"/>
                <a:gd name="connsiteY60" fmla="*/ 125228 h 172875"/>
                <a:gd name="connsiteX61" fmla="*/ 113068 w 158948"/>
                <a:gd name="connsiteY61" fmla="*/ 102015 h 172875"/>
                <a:gd name="connsiteX62" fmla="*/ 114291 w 158948"/>
                <a:gd name="connsiteY62" fmla="*/ 102626 h 172875"/>
                <a:gd name="connsiteX63" fmla="*/ 122236 w 158948"/>
                <a:gd name="connsiteY63" fmla="*/ 105069 h 172875"/>
                <a:gd name="connsiteX64" fmla="*/ 139349 w 158948"/>
                <a:gd name="connsiteY64" fmla="*/ 112400 h 172875"/>
                <a:gd name="connsiteX65" fmla="*/ 152184 w 158948"/>
                <a:gd name="connsiteY65" fmla="*/ 133780 h 172875"/>
                <a:gd name="connsiteX66" fmla="*/ 152184 w 158948"/>
                <a:gd name="connsiteY66" fmla="*/ 141721 h 172875"/>
                <a:gd name="connsiteX67" fmla="*/ 146072 w 158948"/>
                <a:gd name="connsiteY67" fmla="*/ 153939 h 172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158948" h="172875">
                  <a:moveTo>
                    <a:pt x="143627" y="106291"/>
                  </a:moveTo>
                  <a:cubicBezTo>
                    <a:pt x="142405" y="105680"/>
                    <a:pt x="141182" y="105069"/>
                    <a:pt x="139960" y="104458"/>
                  </a:cubicBezTo>
                  <a:cubicBezTo>
                    <a:pt x="136904" y="102626"/>
                    <a:pt x="127736" y="99571"/>
                    <a:pt x="127736" y="99571"/>
                  </a:cubicBezTo>
                  <a:lnTo>
                    <a:pt x="127736" y="99571"/>
                  </a:lnTo>
                  <a:cubicBezTo>
                    <a:pt x="126514" y="98961"/>
                    <a:pt x="125903" y="98961"/>
                    <a:pt x="124680" y="98350"/>
                  </a:cubicBezTo>
                  <a:cubicBezTo>
                    <a:pt x="121625" y="97128"/>
                    <a:pt x="119180" y="96517"/>
                    <a:pt x="116735" y="95906"/>
                  </a:cubicBezTo>
                  <a:cubicBezTo>
                    <a:pt x="113679" y="94684"/>
                    <a:pt x="110012" y="94074"/>
                    <a:pt x="106956" y="93463"/>
                  </a:cubicBezTo>
                  <a:cubicBezTo>
                    <a:pt x="104512" y="91019"/>
                    <a:pt x="102678" y="87354"/>
                    <a:pt x="101456" y="83689"/>
                  </a:cubicBezTo>
                  <a:cubicBezTo>
                    <a:pt x="114902" y="75748"/>
                    <a:pt x="124069" y="61698"/>
                    <a:pt x="124069" y="44593"/>
                  </a:cubicBezTo>
                  <a:cubicBezTo>
                    <a:pt x="124069" y="20159"/>
                    <a:pt x="103901" y="0"/>
                    <a:pt x="79453" y="0"/>
                  </a:cubicBezTo>
                  <a:cubicBezTo>
                    <a:pt x="55006" y="0"/>
                    <a:pt x="34837" y="20159"/>
                    <a:pt x="34837" y="44593"/>
                  </a:cubicBezTo>
                  <a:cubicBezTo>
                    <a:pt x="34837" y="61087"/>
                    <a:pt x="44005" y="75748"/>
                    <a:pt x="57451" y="83689"/>
                  </a:cubicBezTo>
                  <a:cubicBezTo>
                    <a:pt x="56229" y="87354"/>
                    <a:pt x="54395" y="91019"/>
                    <a:pt x="51950" y="94074"/>
                  </a:cubicBezTo>
                  <a:cubicBezTo>
                    <a:pt x="45838" y="95295"/>
                    <a:pt x="42171" y="95906"/>
                    <a:pt x="42171" y="95906"/>
                  </a:cubicBezTo>
                  <a:cubicBezTo>
                    <a:pt x="39727" y="96517"/>
                    <a:pt x="37282" y="97128"/>
                    <a:pt x="34226" y="98350"/>
                  </a:cubicBezTo>
                  <a:cubicBezTo>
                    <a:pt x="32392" y="98961"/>
                    <a:pt x="30559" y="99571"/>
                    <a:pt x="28726" y="100182"/>
                  </a:cubicBezTo>
                  <a:cubicBezTo>
                    <a:pt x="28726" y="100182"/>
                    <a:pt x="28726" y="100182"/>
                    <a:pt x="28726" y="100182"/>
                  </a:cubicBezTo>
                  <a:cubicBezTo>
                    <a:pt x="26892" y="100793"/>
                    <a:pt x="25058" y="102015"/>
                    <a:pt x="23225" y="102626"/>
                  </a:cubicBezTo>
                  <a:cubicBezTo>
                    <a:pt x="23225" y="102626"/>
                    <a:pt x="23225" y="102626"/>
                    <a:pt x="23225" y="102626"/>
                  </a:cubicBezTo>
                  <a:cubicBezTo>
                    <a:pt x="20780" y="103847"/>
                    <a:pt x="18335" y="105069"/>
                    <a:pt x="15891" y="106291"/>
                  </a:cubicBezTo>
                  <a:cubicBezTo>
                    <a:pt x="6112" y="111178"/>
                    <a:pt x="0" y="121563"/>
                    <a:pt x="0" y="132558"/>
                  </a:cubicBezTo>
                  <a:lnTo>
                    <a:pt x="0" y="140499"/>
                  </a:lnTo>
                  <a:cubicBezTo>
                    <a:pt x="0" y="147830"/>
                    <a:pt x="4278" y="154549"/>
                    <a:pt x="10390" y="158215"/>
                  </a:cubicBezTo>
                  <a:cubicBezTo>
                    <a:pt x="22614" y="164934"/>
                    <a:pt x="45227" y="172875"/>
                    <a:pt x="79453" y="172875"/>
                  </a:cubicBezTo>
                  <a:cubicBezTo>
                    <a:pt x="113679" y="172875"/>
                    <a:pt x="136293" y="164934"/>
                    <a:pt x="148517" y="158215"/>
                  </a:cubicBezTo>
                  <a:cubicBezTo>
                    <a:pt x="155239" y="154549"/>
                    <a:pt x="158907" y="147830"/>
                    <a:pt x="158907" y="140499"/>
                  </a:cubicBezTo>
                  <a:lnTo>
                    <a:pt x="158907" y="132558"/>
                  </a:lnTo>
                  <a:cubicBezTo>
                    <a:pt x="159518" y="121563"/>
                    <a:pt x="153406" y="111789"/>
                    <a:pt x="143627" y="106291"/>
                  </a:cubicBezTo>
                  <a:close/>
                  <a:moveTo>
                    <a:pt x="40338" y="45204"/>
                  </a:moveTo>
                  <a:cubicBezTo>
                    <a:pt x="40338" y="23213"/>
                    <a:pt x="58062" y="5498"/>
                    <a:pt x="80064" y="5498"/>
                  </a:cubicBezTo>
                  <a:cubicBezTo>
                    <a:pt x="102067" y="5498"/>
                    <a:pt x="119791" y="23213"/>
                    <a:pt x="119791" y="45204"/>
                  </a:cubicBezTo>
                  <a:cubicBezTo>
                    <a:pt x="119791" y="67195"/>
                    <a:pt x="102067" y="84911"/>
                    <a:pt x="80064" y="84911"/>
                  </a:cubicBezTo>
                  <a:cubicBezTo>
                    <a:pt x="58062" y="84911"/>
                    <a:pt x="40338" y="67195"/>
                    <a:pt x="40338" y="45204"/>
                  </a:cubicBezTo>
                  <a:close/>
                  <a:moveTo>
                    <a:pt x="54395" y="100182"/>
                  </a:moveTo>
                  <a:lnTo>
                    <a:pt x="54395" y="100182"/>
                  </a:lnTo>
                  <a:cubicBezTo>
                    <a:pt x="55006" y="100182"/>
                    <a:pt x="55006" y="100182"/>
                    <a:pt x="54395" y="100182"/>
                  </a:cubicBezTo>
                  <a:cubicBezTo>
                    <a:pt x="55006" y="100182"/>
                    <a:pt x="55006" y="100182"/>
                    <a:pt x="55006" y="100182"/>
                  </a:cubicBezTo>
                  <a:lnTo>
                    <a:pt x="55617" y="99571"/>
                  </a:lnTo>
                  <a:cubicBezTo>
                    <a:pt x="55617" y="99571"/>
                    <a:pt x="55617" y="99571"/>
                    <a:pt x="55617" y="99571"/>
                  </a:cubicBezTo>
                  <a:cubicBezTo>
                    <a:pt x="59285" y="95906"/>
                    <a:pt x="61729" y="91630"/>
                    <a:pt x="62951" y="87354"/>
                  </a:cubicBezTo>
                  <a:cubicBezTo>
                    <a:pt x="67841" y="89187"/>
                    <a:pt x="73342" y="90408"/>
                    <a:pt x="79453" y="90408"/>
                  </a:cubicBezTo>
                  <a:cubicBezTo>
                    <a:pt x="85565" y="90408"/>
                    <a:pt x="91066" y="89187"/>
                    <a:pt x="95955" y="87354"/>
                  </a:cubicBezTo>
                  <a:cubicBezTo>
                    <a:pt x="97177" y="91630"/>
                    <a:pt x="99622" y="95906"/>
                    <a:pt x="103289" y="99571"/>
                  </a:cubicBezTo>
                  <a:cubicBezTo>
                    <a:pt x="103289" y="99571"/>
                    <a:pt x="103289" y="99571"/>
                    <a:pt x="103289" y="99571"/>
                  </a:cubicBezTo>
                  <a:cubicBezTo>
                    <a:pt x="103289" y="99571"/>
                    <a:pt x="103901" y="99571"/>
                    <a:pt x="103901" y="100182"/>
                  </a:cubicBezTo>
                  <a:cubicBezTo>
                    <a:pt x="103901" y="100182"/>
                    <a:pt x="104512" y="100182"/>
                    <a:pt x="104512" y="100182"/>
                  </a:cubicBezTo>
                  <a:cubicBezTo>
                    <a:pt x="104512" y="100182"/>
                    <a:pt x="104512" y="100182"/>
                    <a:pt x="104512" y="100182"/>
                  </a:cubicBezTo>
                  <a:cubicBezTo>
                    <a:pt x="105734" y="100182"/>
                    <a:pt x="106956" y="100793"/>
                    <a:pt x="108179" y="100793"/>
                  </a:cubicBezTo>
                  <a:cubicBezTo>
                    <a:pt x="106956" y="111178"/>
                    <a:pt x="94733" y="119730"/>
                    <a:pt x="79453" y="119730"/>
                  </a:cubicBezTo>
                  <a:cubicBezTo>
                    <a:pt x="64174" y="119730"/>
                    <a:pt x="52561" y="111789"/>
                    <a:pt x="50728" y="101404"/>
                  </a:cubicBezTo>
                  <a:cubicBezTo>
                    <a:pt x="51950" y="100182"/>
                    <a:pt x="53173" y="100182"/>
                    <a:pt x="54395" y="100182"/>
                  </a:cubicBezTo>
                  <a:close/>
                  <a:moveTo>
                    <a:pt x="146072" y="153939"/>
                  </a:moveTo>
                  <a:cubicBezTo>
                    <a:pt x="136293" y="159436"/>
                    <a:pt x="114902" y="167988"/>
                    <a:pt x="79453" y="167988"/>
                  </a:cubicBezTo>
                  <a:cubicBezTo>
                    <a:pt x="44616" y="167988"/>
                    <a:pt x="22614" y="159436"/>
                    <a:pt x="12835" y="153939"/>
                  </a:cubicBezTo>
                  <a:cubicBezTo>
                    <a:pt x="8556" y="151495"/>
                    <a:pt x="5500" y="146608"/>
                    <a:pt x="5500" y="141110"/>
                  </a:cubicBezTo>
                  <a:lnTo>
                    <a:pt x="5500" y="133169"/>
                  </a:lnTo>
                  <a:cubicBezTo>
                    <a:pt x="5500" y="124006"/>
                    <a:pt x="10390" y="116065"/>
                    <a:pt x="18335" y="111789"/>
                  </a:cubicBezTo>
                  <a:cubicBezTo>
                    <a:pt x="23836" y="108734"/>
                    <a:pt x="29948" y="106291"/>
                    <a:pt x="35448" y="104458"/>
                  </a:cubicBezTo>
                  <a:cubicBezTo>
                    <a:pt x="38504" y="103237"/>
                    <a:pt x="40949" y="102626"/>
                    <a:pt x="43394" y="102015"/>
                  </a:cubicBezTo>
                  <a:lnTo>
                    <a:pt x="44616" y="102015"/>
                  </a:lnTo>
                  <a:cubicBezTo>
                    <a:pt x="47061" y="114843"/>
                    <a:pt x="61729" y="125228"/>
                    <a:pt x="78842" y="125228"/>
                  </a:cubicBezTo>
                  <a:cubicBezTo>
                    <a:pt x="95955" y="125228"/>
                    <a:pt x="110623" y="114843"/>
                    <a:pt x="113068" y="102015"/>
                  </a:cubicBezTo>
                  <a:cubicBezTo>
                    <a:pt x="113679" y="102015"/>
                    <a:pt x="113679" y="102015"/>
                    <a:pt x="114291" y="102626"/>
                  </a:cubicBezTo>
                  <a:cubicBezTo>
                    <a:pt x="116735" y="103237"/>
                    <a:pt x="119180" y="103847"/>
                    <a:pt x="122236" y="105069"/>
                  </a:cubicBezTo>
                  <a:cubicBezTo>
                    <a:pt x="128348" y="106902"/>
                    <a:pt x="133848" y="109345"/>
                    <a:pt x="139349" y="112400"/>
                  </a:cubicBezTo>
                  <a:cubicBezTo>
                    <a:pt x="147294" y="116676"/>
                    <a:pt x="152184" y="124617"/>
                    <a:pt x="152184" y="133780"/>
                  </a:cubicBezTo>
                  <a:lnTo>
                    <a:pt x="152184" y="141721"/>
                  </a:lnTo>
                  <a:cubicBezTo>
                    <a:pt x="153406" y="146608"/>
                    <a:pt x="150962" y="150884"/>
                    <a:pt x="146072" y="153939"/>
                  </a:cubicBezTo>
                  <a:close/>
                </a:path>
              </a:pathLst>
            </a:custGeom>
            <a:solidFill>
              <a:srgbClr val="2473B9"/>
            </a:solidFill>
            <a:ln w="61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</p:grpSp>
      <p:grpSp>
        <p:nvGrpSpPr>
          <p:cNvPr id="50" name="Group 49">
            <a:extLst>
              <a:ext uri="{FF2B5EF4-FFF2-40B4-BE49-F238E27FC236}">
                <a16:creationId xmlns:a16="http://schemas.microsoft.com/office/drawing/2014/main" id="{D96733DA-3CB7-5E46-96D8-110E0F6365C4}"/>
              </a:ext>
            </a:extLst>
          </p:cNvPr>
          <p:cNvGrpSpPr/>
          <p:nvPr/>
        </p:nvGrpSpPr>
        <p:grpSpPr>
          <a:xfrm>
            <a:off x="4719159" y="4596237"/>
            <a:ext cx="853440" cy="853440"/>
            <a:chOff x="4243624" y="656353"/>
            <a:chExt cx="640080" cy="640080"/>
          </a:xfrm>
        </p:grpSpPr>
        <p:sp>
          <p:nvSpPr>
            <p:cNvPr id="51" name="Oval 50">
              <a:extLst>
                <a:ext uri="{FF2B5EF4-FFF2-40B4-BE49-F238E27FC236}">
                  <a16:creationId xmlns:a16="http://schemas.microsoft.com/office/drawing/2014/main" id="{06DCBAB1-8AE5-1943-A579-28499178F869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243624" y="656353"/>
              <a:ext cx="640080" cy="64008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52" name="Graphic 11">
              <a:extLst>
                <a:ext uri="{FF2B5EF4-FFF2-40B4-BE49-F238E27FC236}">
                  <a16:creationId xmlns:a16="http://schemas.microsoft.com/office/drawing/2014/main" id="{41C04BD4-93AC-B740-885F-B11D4591A2E9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378703" y="775225"/>
              <a:ext cx="369923" cy="402336"/>
            </a:xfrm>
            <a:custGeom>
              <a:avLst/>
              <a:gdLst>
                <a:gd name="connsiteX0" fmla="*/ 143627 w 158948"/>
                <a:gd name="connsiteY0" fmla="*/ 106291 h 172875"/>
                <a:gd name="connsiteX1" fmla="*/ 139960 w 158948"/>
                <a:gd name="connsiteY1" fmla="*/ 104458 h 172875"/>
                <a:gd name="connsiteX2" fmla="*/ 127736 w 158948"/>
                <a:gd name="connsiteY2" fmla="*/ 99571 h 172875"/>
                <a:gd name="connsiteX3" fmla="*/ 127736 w 158948"/>
                <a:gd name="connsiteY3" fmla="*/ 99571 h 172875"/>
                <a:gd name="connsiteX4" fmla="*/ 124680 w 158948"/>
                <a:gd name="connsiteY4" fmla="*/ 98350 h 172875"/>
                <a:gd name="connsiteX5" fmla="*/ 116735 w 158948"/>
                <a:gd name="connsiteY5" fmla="*/ 95906 h 172875"/>
                <a:gd name="connsiteX6" fmla="*/ 106956 w 158948"/>
                <a:gd name="connsiteY6" fmla="*/ 93463 h 172875"/>
                <a:gd name="connsiteX7" fmla="*/ 101456 w 158948"/>
                <a:gd name="connsiteY7" fmla="*/ 83689 h 172875"/>
                <a:gd name="connsiteX8" fmla="*/ 124069 w 158948"/>
                <a:gd name="connsiteY8" fmla="*/ 44593 h 172875"/>
                <a:gd name="connsiteX9" fmla="*/ 79453 w 158948"/>
                <a:gd name="connsiteY9" fmla="*/ 0 h 172875"/>
                <a:gd name="connsiteX10" fmla="*/ 34837 w 158948"/>
                <a:gd name="connsiteY10" fmla="*/ 44593 h 172875"/>
                <a:gd name="connsiteX11" fmla="*/ 57451 w 158948"/>
                <a:gd name="connsiteY11" fmla="*/ 83689 h 172875"/>
                <a:gd name="connsiteX12" fmla="*/ 51950 w 158948"/>
                <a:gd name="connsiteY12" fmla="*/ 94074 h 172875"/>
                <a:gd name="connsiteX13" fmla="*/ 42171 w 158948"/>
                <a:gd name="connsiteY13" fmla="*/ 95906 h 172875"/>
                <a:gd name="connsiteX14" fmla="*/ 34226 w 158948"/>
                <a:gd name="connsiteY14" fmla="*/ 98350 h 172875"/>
                <a:gd name="connsiteX15" fmla="*/ 28726 w 158948"/>
                <a:gd name="connsiteY15" fmla="*/ 100182 h 172875"/>
                <a:gd name="connsiteX16" fmla="*/ 28726 w 158948"/>
                <a:gd name="connsiteY16" fmla="*/ 100182 h 172875"/>
                <a:gd name="connsiteX17" fmla="*/ 23225 w 158948"/>
                <a:gd name="connsiteY17" fmla="*/ 102626 h 172875"/>
                <a:gd name="connsiteX18" fmla="*/ 23225 w 158948"/>
                <a:gd name="connsiteY18" fmla="*/ 102626 h 172875"/>
                <a:gd name="connsiteX19" fmla="*/ 15891 w 158948"/>
                <a:gd name="connsiteY19" fmla="*/ 106291 h 172875"/>
                <a:gd name="connsiteX20" fmla="*/ 0 w 158948"/>
                <a:gd name="connsiteY20" fmla="*/ 132558 h 172875"/>
                <a:gd name="connsiteX21" fmla="*/ 0 w 158948"/>
                <a:gd name="connsiteY21" fmla="*/ 140499 h 172875"/>
                <a:gd name="connsiteX22" fmla="*/ 10390 w 158948"/>
                <a:gd name="connsiteY22" fmla="*/ 158215 h 172875"/>
                <a:gd name="connsiteX23" fmla="*/ 79453 w 158948"/>
                <a:gd name="connsiteY23" fmla="*/ 172875 h 172875"/>
                <a:gd name="connsiteX24" fmla="*/ 148517 w 158948"/>
                <a:gd name="connsiteY24" fmla="*/ 158215 h 172875"/>
                <a:gd name="connsiteX25" fmla="*/ 158907 w 158948"/>
                <a:gd name="connsiteY25" fmla="*/ 140499 h 172875"/>
                <a:gd name="connsiteX26" fmla="*/ 158907 w 158948"/>
                <a:gd name="connsiteY26" fmla="*/ 132558 h 172875"/>
                <a:gd name="connsiteX27" fmla="*/ 143627 w 158948"/>
                <a:gd name="connsiteY27" fmla="*/ 106291 h 172875"/>
                <a:gd name="connsiteX28" fmla="*/ 40338 w 158948"/>
                <a:gd name="connsiteY28" fmla="*/ 45204 h 172875"/>
                <a:gd name="connsiteX29" fmla="*/ 80064 w 158948"/>
                <a:gd name="connsiteY29" fmla="*/ 5498 h 172875"/>
                <a:gd name="connsiteX30" fmla="*/ 119791 w 158948"/>
                <a:gd name="connsiteY30" fmla="*/ 45204 h 172875"/>
                <a:gd name="connsiteX31" fmla="*/ 80064 w 158948"/>
                <a:gd name="connsiteY31" fmla="*/ 84911 h 172875"/>
                <a:gd name="connsiteX32" fmla="*/ 40338 w 158948"/>
                <a:gd name="connsiteY32" fmla="*/ 45204 h 172875"/>
                <a:gd name="connsiteX33" fmla="*/ 54395 w 158948"/>
                <a:gd name="connsiteY33" fmla="*/ 100182 h 172875"/>
                <a:gd name="connsiteX34" fmla="*/ 54395 w 158948"/>
                <a:gd name="connsiteY34" fmla="*/ 100182 h 172875"/>
                <a:gd name="connsiteX35" fmla="*/ 54395 w 158948"/>
                <a:gd name="connsiteY35" fmla="*/ 100182 h 172875"/>
                <a:gd name="connsiteX36" fmla="*/ 55006 w 158948"/>
                <a:gd name="connsiteY36" fmla="*/ 100182 h 172875"/>
                <a:gd name="connsiteX37" fmla="*/ 55617 w 158948"/>
                <a:gd name="connsiteY37" fmla="*/ 99571 h 172875"/>
                <a:gd name="connsiteX38" fmla="*/ 55617 w 158948"/>
                <a:gd name="connsiteY38" fmla="*/ 99571 h 172875"/>
                <a:gd name="connsiteX39" fmla="*/ 62951 w 158948"/>
                <a:gd name="connsiteY39" fmla="*/ 87354 h 172875"/>
                <a:gd name="connsiteX40" fmla="*/ 79453 w 158948"/>
                <a:gd name="connsiteY40" fmla="*/ 90408 h 172875"/>
                <a:gd name="connsiteX41" fmla="*/ 95955 w 158948"/>
                <a:gd name="connsiteY41" fmla="*/ 87354 h 172875"/>
                <a:gd name="connsiteX42" fmla="*/ 103289 w 158948"/>
                <a:gd name="connsiteY42" fmla="*/ 99571 h 172875"/>
                <a:gd name="connsiteX43" fmla="*/ 103289 w 158948"/>
                <a:gd name="connsiteY43" fmla="*/ 99571 h 172875"/>
                <a:gd name="connsiteX44" fmla="*/ 103901 w 158948"/>
                <a:gd name="connsiteY44" fmla="*/ 100182 h 172875"/>
                <a:gd name="connsiteX45" fmla="*/ 104512 w 158948"/>
                <a:gd name="connsiteY45" fmla="*/ 100182 h 172875"/>
                <a:gd name="connsiteX46" fmla="*/ 104512 w 158948"/>
                <a:gd name="connsiteY46" fmla="*/ 100182 h 172875"/>
                <a:gd name="connsiteX47" fmla="*/ 108179 w 158948"/>
                <a:gd name="connsiteY47" fmla="*/ 100793 h 172875"/>
                <a:gd name="connsiteX48" fmla="*/ 79453 w 158948"/>
                <a:gd name="connsiteY48" fmla="*/ 119730 h 172875"/>
                <a:gd name="connsiteX49" fmla="*/ 50728 w 158948"/>
                <a:gd name="connsiteY49" fmla="*/ 101404 h 172875"/>
                <a:gd name="connsiteX50" fmla="*/ 54395 w 158948"/>
                <a:gd name="connsiteY50" fmla="*/ 100182 h 172875"/>
                <a:gd name="connsiteX51" fmla="*/ 146072 w 158948"/>
                <a:gd name="connsiteY51" fmla="*/ 153939 h 172875"/>
                <a:gd name="connsiteX52" fmla="*/ 79453 w 158948"/>
                <a:gd name="connsiteY52" fmla="*/ 167988 h 172875"/>
                <a:gd name="connsiteX53" fmla="*/ 12835 w 158948"/>
                <a:gd name="connsiteY53" fmla="*/ 153939 h 172875"/>
                <a:gd name="connsiteX54" fmla="*/ 5500 w 158948"/>
                <a:gd name="connsiteY54" fmla="*/ 141110 h 172875"/>
                <a:gd name="connsiteX55" fmla="*/ 5500 w 158948"/>
                <a:gd name="connsiteY55" fmla="*/ 133169 h 172875"/>
                <a:gd name="connsiteX56" fmla="*/ 18335 w 158948"/>
                <a:gd name="connsiteY56" fmla="*/ 111789 h 172875"/>
                <a:gd name="connsiteX57" fmla="*/ 35448 w 158948"/>
                <a:gd name="connsiteY57" fmla="*/ 104458 h 172875"/>
                <a:gd name="connsiteX58" fmla="*/ 43394 w 158948"/>
                <a:gd name="connsiteY58" fmla="*/ 102015 h 172875"/>
                <a:gd name="connsiteX59" fmla="*/ 44616 w 158948"/>
                <a:gd name="connsiteY59" fmla="*/ 102015 h 172875"/>
                <a:gd name="connsiteX60" fmla="*/ 78842 w 158948"/>
                <a:gd name="connsiteY60" fmla="*/ 125228 h 172875"/>
                <a:gd name="connsiteX61" fmla="*/ 113068 w 158948"/>
                <a:gd name="connsiteY61" fmla="*/ 102015 h 172875"/>
                <a:gd name="connsiteX62" fmla="*/ 114291 w 158948"/>
                <a:gd name="connsiteY62" fmla="*/ 102626 h 172875"/>
                <a:gd name="connsiteX63" fmla="*/ 122236 w 158948"/>
                <a:gd name="connsiteY63" fmla="*/ 105069 h 172875"/>
                <a:gd name="connsiteX64" fmla="*/ 139349 w 158948"/>
                <a:gd name="connsiteY64" fmla="*/ 112400 h 172875"/>
                <a:gd name="connsiteX65" fmla="*/ 152184 w 158948"/>
                <a:gd name="connsiteY65" fmla="*/ 133780 h 172875"/>
                <a:gd name="connsiteX66" fmla="*/ 152184 w 158948"/>
                <a:gd name="connsiteY66" fmla="*/ 141721 h 172875"/>
                <a:gd name="connsiteX67" fmla="*/ 146072 w 158948"/>
                <a:gd name="connsiteY67" fmla="*/ 153939 h 172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158948" h="172875">
                  <a:moveTo>
                    <a:pt x="143627" y="106291"/>
                  </a:moveTo>
                  <a:cubicBezTo>
                    <a:pt x="142405" y="105680"/>
                    <a:pt x="141182" y="105069"/>
                    <a:pt x="139960" y="104458"/>
                  </a:cubicBezTo>
                  <a:cubicBezTo>
                    <a:pt x="136904" y="102626"/>
                    <a:pt x="127736" y="99571"/>
                    <a:pt x="127736" y="99571"/>
                  </a:cubicBezTo>
                  <a:lnTo>
                    <a:pt x="127736" y="99571"/>
                  </a:lnTo>
                  <a:cubicBezTo>
                    <a:pt x="126514" y="98961"/>
                    <a:pt x="125903" y="98961"/>
                    <a:pt x="124680" y="98350"/>
                  </a:cubicBezTo>
                  <a:cubicBezTo>
                    <a:pt x="121625" y="97128"/>
                    <a:pt x="119180" y="96517"/>
                    <a:pt x="116735" y="95906"/>
                  </a:cubicBezTo>
                  <a:cubicBezTo>
                    <a:pt x="113679" y="94684"/>
                    <a:pt x="110012" y="94074"/>
                    <a:pt x="106956" y="93463"/>
                  </a:cubicBezTo>
                  <a:cubicBezTo>
                    <a:pt x="104512" y="91019"/>
                    <a:pt x="102678" y="87354"/>
                    <a:pt x="101456" y="83689"/>
                  </a:cubicBezTo>
                  <a:cubicBezTo>
                    <a:pt x="114902" y="75748"/>
                    <a:pt x="124069" y="61698"/>
                    <a:pt x="124069" y="44593"/>
                  </a:cubicBezTo>
                  <a:cubicBezTo>
                    <a:pt x="124069" y="20159"/>
                    <a:pt x="103901" y="0"/>
                    <a:pt x="79453" y="0"/>
                  </a:cubicBezTo>
                  <a:cubicBezTo>
                    <a:pt x="55006" y="0"/>
                    <a:pt x="34837" y="20159"/>
                    <a:pt x="34837" y="44593"/>
                  </a:cubicBezTo>
                  <a:cubicBezTo>
                    <a:pt x="34837" y="61087"/>
                    <a:pt x="44005" y="75748"/>
                    <a:pt x="57451" y="83689"/>
                  </a:cubicBezTo>
                  <a:cubicBezTo>
                    <a:pt x="56229" y="87354"/>
                    <a:pt x="54395" y="91019"/>
                    <a:pt x="51950" y="94074"/>
                  </a:cubicBezTo>
                  <a:cubicBezTo>
                    <a:pt x="45838" y="95295"/>
                    <a:pt x="42171" y="95906"/>
                    <a:pt x="42171" y="95906"/>
                  </a:cubicBezTo>
                  <a:cubicBezTo>
                    <a:pt x="39727" y="96517"/>
                    <a:pt x="37282" y="97128"/>
                    <a:pt x="34226" y="98350"/>
                  </a:cubicBezTo>
                  <a:cubicBezTo>
                    <a:pt x="32392" y="98961"/>
                    <a:pt x="30559" y="99571"/>
                    <a:pt x="28726" y="100182"/>
                  </a:cubicBezTo>
                  <a:cubicBezTo>
                    <a:pt x="28726" y="100182"/>
                    <a:pt x="28726" y="100182"/>
                    <a:pt x="28726" y="100182"/>
                  </a:cubicBezTo>
                  <a:cubicBezTo>
                    <a:pt x="26892" y="100793"/>
                    <a:pt x="25058" y="102015"/>
                    <a:pt x="23225" y="102626"/>
                  </a:cubicBezTo>
                  <a:cubicBezTo>
                    <a:pt x="23225" y="102626"/>
                    <a:pt x="23225" y="102626"/>
                    <a:pt x="23225" y="102626"/>
                  </a:cubicBezTo>
                  <a:cubicBezTo>
                    <a:pt x="20780" y="103847"/>
                    <a:pt x="18335" y="105069"/>
                    <a:pt x="15891" y="106291"/>
                  </a:cubicBezTo>
                  <a:cubicBezTo>
                    <a:pt x="6112" y="111178"/>
                    <a:pt x="0" y="121563"/>
                    <a:pt x="0" y="132558"/>
                  </a:cubicBezTo>
                  <a:lnTo>
                    <a:pt x="0" y="140499"/>
                  </a:lnTo>
                  <a:cubicBezTo>
                    <a:pt x="0" y="147830"/>
                    <a:pt x="4278" y="154549"/>
                    <a:pt x="10390" y="158215"/>
                  </a:cubicBezTo>
                  <a:cubicBezTo>
                    <a:pt x="22614" y="164934"/>
                    <a:pt x="45227" y="172875"/>
                    <a:pt x="79453" y="172875"/>
                  </a:cubicBezTo>
                  <a:cubicBezTo>
                    <a:pt x="113679" y="172875"/>
                    <a:pt x="136293" y="164934"/>
                    <a:pt x="148517" y="158215"/>
                  </a:cubicBezTo>
                  <a:cubicBezTo>
                    <a:pt x="155239" y="154549"/>
                    <a:pt x="158907" y="147830"/>
                    <a:pt x="158907" y="140499"/>
                  </a:cubicBezTo>
                  <a:lnTo>
                    <a:pt x="158907" y="132558"/>
                  </a:lnTo>
                  <a:cubicBezTo>
                    <a:pt x="159518" y="121563"/>
                    <a:pt x="153406" y="111789"/>
                    <a:pt x="143627" y="106291"/>
                  </a:cubicBezTo>
                  <a:close/>
                  <a:moveTo>
                    <a:pt x="40338" y="45204"/>
                  </a:moveTo>
                  <a:cubicBezTo>
                    <a:pt x="40338" y="23213"/>
                    <a:pt x="58062" y="5498"/>
                    <a:pt x="80064" y="5498"/>
                  </a:cubicBezTo>
                  <a:cubicBezTo>
                    <a:pt x="102067" y="5498"/>
                    <a:pt x="119791" y="23213"/>
                    <a:pt x="119791" y="45204"/>
                  </a:cubicBezTo>
                  <a:cubicBezTo>
                    <a:pt x="119791" y="67195"/>
                    <a:pt x="102067" y="84911"/>
                    <a:pt x="80064" y="84911"/>
                  </a:cubicBezTo>
                  <a:cubicBezTo>
                    <a:pt x="58062" y="84911"/>
                    <a:pt x="40338" y="67195"/>
                    <a:pt x="40338" y="45204"/>
                  </a:cubicBezTo>
                  <a:close/>
                  <a:moveTo>
                    <a:pt x="54395" y="100182"/>
                  </a:moveTo>
                  <a:lnTo>
                    <a:pt x="54395" y="100182"/>
                  </a:lnTo>
                  <a:cubicBezTo>
                    <a:pt x="55006" y="100182"/>
                    <a:pt x="55006" y="100182"/>
                    <a:pt x="54395" y="100182"/>
                  </a:cubicBezTo>
                  <a:cubicBezTo>
                    <a:pt x="55006" y="100182"/>
                    <a:pt x="55006" y="100182"/>
                    <a:pt x="55006" y="100182"/>
                  </a:cubicBezTo>
                  <a:lnTo>
                    <a:pt x="55617" y="99571"/>
                  </a:lnTo>
                  <a:cubicBezTo>
                    <a:pt x="55617" y="99571"/>
                    <a:pt x="55617" y="99571"/>
                    <a:pt x="55617" y="99571"/>
                  </a:cubicBezTo>
                  <a:cubicBezTo>
                    <a:pt x="59285" y="95906"/>
                    <a:pt x="61729" y="91630"/>
                    <a:pt x="62951" y="87354"/>
                  </a:cubicBezTo>
                  <a:cubicBezTo>
                    <a:pt x="67841" y="89187"/>
                    <a:pt x="73342" y="90408"/>
                    <a:pt x="79453" y="90408"/>
                  </a:cubicBezTo>
                  <a:cubicBezTo>
                    <a:pt x="85565" y="90408"/>
                    <a:pt x="91066" y="89187"/>
                    <a:pt x="95955" y="87354"/>
                  </a:cubicBezTo>
                  <a:cubicBezTo>
                    <a:pt x="97177" y="91630"/>
                    <a:pt x="99622" y="95906"/>
                    <a:pt x="103289" y="99571"/>
                  </a:cubicBezTo>
                  <a:cubicBezTo>
                    <a:pt x="103289" y="99571"/>
                    <a:pt x="103289" y="99571"/>
                    <a:pt x="103289" y="99571"/>
                  </a:cubicBezTo>
                  <a:cubicBezTo>
                    <a:pt x="103289" y="99571"/>
                    <a:pt x="103901" y="99571"/>
                    <a:pt x="103901" y="100182"/>
                  </a:cubicBezTo>
                  <a:cubicBezTo>
                    <a:pt x="103901" y="100182"/>
                    <a:pt x="104512" y="100182"/>
                    <a:pt x="104512" y="100182"/>
                  </a:cubicBezTo>
                  <a:cubicBezTo>
                    <a:pt x="104512" y="100182"/>
                    <a:pt x="104512" y="100182"/>
                    <a:pt x="104512" y="100182"/>
                  </a:cubicBezTo>
                  <a:cubicBezTo>
                    <a:pt x="105734" y="100182"/>
                    <a:pt x="106956" y="100793"/>
                    <a:pt x="108179" y="100793"/>
                  </a:cubicBezTo>
                  <a:cubicBezTo>
                    <a:pt x="106956" y="111178"/>
                    <a:pt x="94733" y="119730"/>
                    <a:pt x="79453" y="119730"/>
                  </a:cubicBezTo>
                  <a:cubicBezTo>
                    <a:pt x="64174" y="119730"/>
                    <a:pt x="52561" y="111789"/>
                    <a:pt x="50728" y="101404"/>
                  </a:cubicBezTo>
                  <a:cubicBezTo>
                    <a:pt x="51950" y="100182"/>
                    <a:pt x="53173" y="100182"/>
                    <a:pt x="54395" y="100182"/>
                  </a:cubicBezTo>
                  <a:close/>
                  <a:moveTo>
                    <a:pt x="146072" y="153939"/>
                  </a:moveTo>
                  <a:cubicBezTo>
                    <a:pt x="136293" y="159436"/>
                    <a:pt x="114902" y="167988"/>
                    <a:pt x="79453" y="167988"/>
                  </a:cubicBezTo>
                  <a:cubicBezTo>
                    <a:pt x="44616" y="167988"/>
                    <a:pt x="22614" y="159436"/>
                    <a:pt x="12835" y="153939"/>
                  </a:cubicBezTo>
                  <a:cubicBezTo>
                    <a:pt x="8556" y="151495"/>
                    <a:pt x="5500" y="146608"/>
                    <a:pt x="5500" y="141110"/>
                  </a:cubicBezTo>
                  <a:lnTo>
                    <a:pt x="5500" y="133169"/>
                  </a:lnTo>
                  <a:cubicBezTo>
                    <a:pt x="5500" y="124006"/>
                    <a:pt x="10390" y="116065"/>
                    <a:pt x="18335" y="111789"/>
                  </a:cubicBezTo>
                  <a:cubicBezTo>
                    <a:pt x="23836" y="108734"/>
                    <a:pt x="29948" y="106291"/>
                    <a:pt x="35448" y="104458"/>
                  </a:cubicBezTo>
                  <a:cubicBezTo>
                    <a:pt x="38504" y="103237"/>
                    <a:pt x="40949" y="102626"/>
                    <a:pt x="43394" y="102015"/>
                  </a:cubicBezTo>
                  <a:lnTo>
                    <a:pt x="44616" y="102015"/>
                  </a:lnTo>
                  <a:cubicBezTo>
                    <a:pt x="47061" y="114843"/>
                    <a:pt x="61729" y="125228"/>
                    <a:pt x="78842" y="125228"/>
                  </a:cubicBezTo>
                  <a:cubicBezTo>
                    <a:pt x="95955" y="125228"/>
                    <a:pt x="110623" y="114843"/>
                    <a:pt x="113068" y="102015"/>
                  </a:cubicBezTo>
                  <a:cubicBezTo>
                    <a:pt x="113679" y="102015"/>
                    <a:pt x="113679" y="102015"/>
                    <a:pt x="114291" y="102626"/>
                  </a:cubicBezTo>
                  <a:cubicBezTo>
                    <a:pt x="116735" y="103237"/>
                    <a:pt x="119180" y="103847"/>
                    <a:pt x="122236" y="105069"/>
                  </a:cubicBezTo>
                  <a:cubicBezTo>
                    <a:pt x="128348" y="106902"/>
                    <a:pt x="133848" y="109345"/>
                    <a:pt x="139349" y="112400"/>
                  </a:cubicBezTo>
                  <a:cubicBezTo>
                    <a:pt x="147294" y="116676"/>
                    <a:pt x="152184" y="124617"/>
                    <a:pt x="152184" y="133780"/>
                  </a:cubicBezTo>
                  <a:lnTo>
                    <a:pt x="152184" y="141721"/>
                  </a:lnTo>
                  <a:cubicBezTo>
                    <a:pt x="153406" y="146608"/>
                    <a:pt x="150962" y="150884"/>
                    <a:pt x="146072" y="153939"/>
                  </a:cubicBezTo>
                  <a:close/>
                </a:path>
              </a:pathLst>
            </a:custGeom>
            <a:solidFill>
              <a:srgbClr val="2473B9"/>
            </a:solidFill>
            <a:ln w="61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</p:grpSp>
      <p:grpSp>
        <p:nvGrpSpPr>
          <p:cNvPr id="53" name="Group 52">
            <a:extLst>
              <a:ext uri="{FF2B5EF4-FFF2-40B4-BE49-F238E27FC236}">
                <a16:creationId xmlns:a16="http://schemas.microsoft.com/office/drawing/2014/main" id="{675FE985-5D92-CC48-96BC-4FF175A26BD4}"/>
              </a:ext>
            </a:extLst>
          </p:cNvPr>
          <p:cNvGrpSpPr/>
          <p:nvPr/>
        </p:nvGrpSpPr>
        <p:grpSpPr>
          <a:xfrm>
            <a:off x="846452" y="4596237"/>
            <a:ext cx="853440" cy="853440"/>
            <a:chOff x="4243624" y="656353"/>
            <a:chExt cx="640080" cy="640080"/>
          </a:xfrm>
        </p:grpSpPr>
        <p:sp>
          <p:nvSpPr>
            <p:cNvPr id="54" name="Oval 53">
              <a:extLst>
                <a:ext uri="{FF2B5EF4-FFF2-40B4-BE49-F238E27FC236}">
                  <a16:creationId xmlns:a16="http://schemas.microsoft.com/office/drawing/2014/main" id="{7A113BB8-9615-F84D-A7B7-F7E8579A0CB6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243624" y="656353"/>
              <a:ext cx="640080" cy="64008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55" name="Graphic 11">
              <a:extLst>
                <a:ext uri="{FF2B5EF4-FFF2-40B4-BE49-F238E27FC236}">
                  <a16:creationId xmlns:a16="http://schemas.microsoft.com/office/drawing/2014/main" id="{A4A2F667-F3D6-8249-821F-FAA7029AF463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378703" y="775225"/>
              <a:ext cx="369923" cy="402336"/>
            </a:xfrm>
            <a:custGeom>
              <a:avLst/>
              <a:gdLst>
                <a:gd name="connsiteX0" fmla="*/ 143627 w 158948"/>
                <a:gd name="connsiteY0" fmla="*/ 106291 h 172875"/>
                <a:gd name="connsiteX1" fmla="*/ 139960 w 158948"/>
                <a:gd name="connsiteY1" fmla="*/ 104458 h 172875"/>
                <a:gd name="connsiteX2" fmla="*/ 127736 w 158948"/>
                <a:gd name="connsiteY2" fmla="*/ 99571 h 172875"/>
                <a:gd name="connsiteX3" fmla="*/ 127736 w 158948"/>
                <a:gd name="connsiteY3" fmla="*/ 99571 h 172875"/>
                <a:gd name="connsiteX4" fmla="*/ 124680 w 158948"/>
                <a:gd name="connsiteY4" fmla="*/ 98350 h 172875"/>
                <a:gd name="connsiteX5" fmla="*/ 116735 w 158948"/>
                <a:gd name="connsiteY5" fmla="*/ 95906 h 172875"/>
                <a:gd name="connsiteX6" fmla="*/ 106956 w 158948"/>
                <a:gd name="connsiteY6" fmla="*/ 93463 h 172875"/>
                <a:gd name="connsiteX7" fmla="*/ 101456 w 158948"/>
                <a:gd name="connsiteY7" fmla="*/ 83689 h 172875"/>
                <a:gd name="connsiteX8" fmla="*/ 124069 w 158948"/>
                <a:gd name="connsiteY8" fmla="*/ 44593 h 172875"/>
                <a:gd name="connsiteX9" fmla="*/ 79453 w 158948"/>
                <a:gd name="connsiteY9" fmla="*/ 0 h 172875"/>
                <a:gd name="connsiteX10" fmla="*/ 34837 w 158948"/>
                <a:gd name="connsiteY10" fmla="*/ 44593 h 172875"/>
                <a:gd name="connsiteX11" fmla="*/ 57451 w 158948"/>
                <a:gd name="connsiteY11" fmla="*/ 83689 h 172875"/>
                <a:gd name="connsiteX12" fmla="*/ 51950 w 158948"/>
                <a:gd name="connsiteY12" fmla="*/ 94074 h 172875"/>
                <a:gd name="connsiteX13" fmla="*/ 42171 w 158948"/>
                <a:gd name="connsiteY13" fmla="*/ 95906 h 172875"/>
                <a:gd name="connsiteX14" fmla="*/ 34226 w 158948"/>
                <a:gd name="connsiteY14" fmla="*/ 98350 h 172875"/>
                <a:gd name="connsiteX15" fmla="*/ 28726 w 158948"/>
                <a:gd name="connsiteY15" fmla="*/ 100182 h 172875"/>
                <a:gd name="connsiteX16" fmla="*/ 28726 w 158948"/>
                <a:gd name="connsiteY16" fmla="*/ 100182 h 172875"/>
                <a:gd name="connsiteX17" fmla="*/ 23225 w 158948"/>
                <a:gd name="connsiteY17" fmla="*/ 102626 h 172875"/>
                <a:gd name="connsiteX18" fmla="*/ 23225 w 158948"/>
                <a:gd name="connsiteY18" fmla="*/ 102626 h 172875"/>
                <a:gd name="connsiteX19" fmla="*/ 15891 w 158948"/>
                <a:gd name="connsiteY19" fmla="*/ 106291 h 172875"/>
                <a:gd name="connsiteX20" fmla="*/ 0 w 158948"/>
                <a:gd name="connsiteY20" fmla="*/ 132558 h 172875"/>
                <a:gd name="connsiteX21" fmla="*/ 0 w 158948"/>
                <a:gd name="connsiteY21" fmla="*/ 140499 h 172875"/>
                <a:gd name="connsiteX22" fmla="*/ 10390 w 158948"/>
                <a:gd name="connsiteY22" fmla="*/ 158215 h 172875"/>
                <a:gd name="connsiteX23" fmla="*/ 79453 w 158948"/>
                <a:gd name="connsiteY23" fmla="*/ 172875 h 172875"/>
                <a:gd name="connsiteX24" fmla="*/ 148517 w 158948"/>
                <a:gd name="connsiteY24" fmla="*/ 158215 h 172875"/>
                <a:gd name="connsiteX25" fmla="*/ 158907 w 158948"/>
                <a:gd name="connsiteY25" fmla="*/ 140499 h 172875"/>
                <a:gd name="connsiteX26" fmla="*/ 158907 w 158948"/>
                <a:gd name="connsiteY26" fmla="*/ 132558 h 172875"/>
                <a:gd name="connsiteX27" fmla="*/ 143627 w 158948"/>
                <a:gd name="connsiteY27" fmla="*/ 106291 h 172875"/>
                <a:gd name="connsiteX28" fmla="*/ 40338 w 158948"/>
                <a:gd name="connsiteY28" fmla="*/ 45204 h 172875"/>
                <a:gd name="connsiteX29" fmla="*/ 80064 w 158948"/>
                <a:gd name="connsiteY29" fmla="*/ 5498 h 172875"/>
                <a:gd name="connsiteX30" fmla="*/ 119791 w 158948"/>
                <a:gd name="connsiteY30" fmla="*/ 45204 h 172875"/>
                <a:gd name="connsiteX31" fmla="*/ 80064 w 158948"/>
                <a:gd name="connsiteY31" fmla="*/ 84911 h 172875"/>
                <a:gd name="connsiteX32" fmla="*/ 40338 w 158948"/>
                <a:gd name="connsiteY32" fmla="*/ 45204 h 172875"/>
                <a:gd name="connsiteX33" fmla="*/ 54395 w 158948"/>
                <a:gd name="connsiteY33" fmla="*/ 100182 h 172875"/>
                <a:gd name="connsiteX34" fmla="*/ 54395 w 158948"/>
                <a:gd name="connsiteY34" fmla="*/ 100182 h 172875"/>
                <a:gd name="connsiteX35" fmla="*/ 54395 w 158948"/>
                <a:gd name="connsiteY35" fmla="*/ 100182 h 172875"/>
                <a:gd name="connsiteX36" fmla="*/ 55006 w 158948"/>
                <a:gd name="connsiteY36" fmla="*/ 100182 h 172875"/>
                <a:gd name="connsiteX37" fmla="*/ 55617 w 158948"/>
                <a:gd name="connsiteY37" fmla="*/ 99571 h 172875"/>
                <a:gd name="connsiteX38" fmla="*/ 55617 w 158948"/>
                <a:gd name="connsiteY38" fmla="*/ 99571 h 172875"/>
                <a:gd name="connsiteX39" fmla="*/ 62951 w 158948"/>
                <a:gd name="connsiteY39" fmla="*/ 87354 h 172875"/>
                <a:gd name="connsiteX40" fmla="*/ 79453 w 158948"/>
                <a:gd name="connsiteY40" fmla="*/ 90408 h 172875"/>
                <a:gd name="connsiteX41" fmla="*/ 95955 w 158948"/>
                <a:gd name="connsiteY41" fmla="*/ 87354 h 172875"/>
                <a:gd name="connsiteX42" fmla="*/ 103289 w 158948"/>
                <a:gd name="connsiteY42" fmla="*/ 99571 h 172875"/>
                <a:gd name="connsiteX43" fmla="*/ 103289 w 158948"/>
                <a:gd name="connsiteY43" fmla="*/ 99571 h 172875"/>
                <a:gd name="connsiteX44" fmla="*/ 103901 w 158948"/>
                <a:gd name="connsiteY44" fmla="*/ 100182 h 172875"/>
                <a:gd name="connsiteX45" fmla="*/ 104512 w 158948"/>
                <a:gd name="connsiteY45" fmla="*/ 100182 h 172875"/>
                <a:gd name="connsiteX46" fmla="*/ 104512 w 158948"/>
                <a:gd name="connsiteY46" fmla="*/ 100182 h 172875"/>
                <a:gd name="connsiteX47" fmla="*/ 108179 w 158948"/>
                <a:gd name="connsiteY47" fmla="*/ 100793 h 172875"/>
                <a:gd name="connsiteX48" fmla="*/ 79453 w 158948"/>
                <a:gd name="connsiteY48" fmla="*/ 119730 h 172875"/>
                <a:gd name="connsiteX49" fmla="*/ 50728 w 158948"/>
                <a:gd name="connsiteY49" fmla="*/ 101404 h 172875"/>
                <a:gd name="connsiteX50" fmla="*/ 54395 w 158948"/>
                <a:gd name="connsiteY50" fmla="*/ 100182 h 172875"/>
                <a:gd name="connsiteX51" fmla="*/ 146072 w 158948"/>
                <a:gd name="connsiteY51" fmla="*/ 153939 h 172875"/>
                <a:gd name="connsiteX52" fmla="*/ 79453 w 158948"/>
                <a:gd name="connsiteY52" fmla="*/ 167988 h 172875"/>
                <a:gd name="connsiteX53" fmla="*/ 12835 w 158948"/>
                <a:gd name="connsiteY53" fmla="*/ 153939 h 172875"/>
                <a:gd name="connsiteX54" fmla="*/ 5500 w 158948"/>
                <a:gd name="connsiteY54" fmla="*/ 141110 h 172875"/>
                <a:gd name="connsiteX55" fmla="*/ 5500 w 158948"/>
                <a:gd name="connsiteY55" fmla="*/ 133169 h 172875"/>
                <a:gd name="connsiteX56" fmla="*/ 18335 w 158948"/>
                <a:gd name="connsiteY56" fmla="*/ 111789 h 172875"/>
                <a:gd name="connsiteX57" fmla="*/ 35448 w 158948"/>
                <a:gd name="connsiteY57" fmla="*/ 104458 h 172875"/>
                <a:gd name="connsiteX58" fmla="*/ 43394 w 158948"/>
                <a:gd name="connsiteY58" fmla="*/ 102015 h 172875"/>
                <a:gd name="connsiteX59" fmla="*/ 44616 w 158948"/>
                <a:gd name="connsiteY59" fmla="*/ 102015 h 172875"/>
                <a:gd name="connsiteX60" fmla="*/ 78842 w 158948"/>
                <a:gd name="connsiteY60" fmla="*/ 125228 h 172875"/>
                <a:gd name="connsiteX61" fmla="*/ 113068 w 158948"/>
                <a:gd name="connsiteY61" fmla="*/ 102015 h 172875"/>
                <a:gd name="connsiteX62" fmla="*/ 114291 w 158948"/>
                <a:gd name="connsiteY62" fmla="*/ 102626 h 172875"/>
                <a:gd name="connsiteX63" fmla="*/ 122236 w 158948"/>
                <a:gd name="connsiteY63" fmla="*/ 105069 h 172875"/>
                <a:gd name="connsiteX64" fmla="*/ 139349 w 158948"/>
                <a:gd name="connsiteY64" fmla="*/ 112400 h 172875"/>
                <a:gd name="connsiteX65" fmla="*/ 152184 w 158948"/>
                <a:gd name="connsiteY65" fmla="*/ 133780 h 172875"/>
                <a:gd name="connsiteX66" fmla="*/ 152184 w 158948"/>
                <a:gd name="connsiteY66" fmla="*/ 141721 h 172875"/>
                <a:gd name="connsiteX67" fmla="*/ 146072 w 158948"/>
                <a:gd name="connsiteY67" fmla="*/ 153939 h 172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158948" h="172875">
                  <a:moveTo>
                    <a:pt x="143627" y="106291"/>
                  </a:moveTo>
                  <a:cubicBezTo>
                    <a:pt x="142405" y="105680"/>
                    <a:pt x="141182" y="105069"/>
                    <a:pt x="139960" y="104458"/>
                  </a:cubicBezTo>
                  <a:cubicBezTo>
                    <a:pt x="136904" y="102626"/>
                    <a:pt x="127736" y="99571"/>
                    <a:pt x="127736" y="99571"/>
                  </a:cubicBezTo>
                  <a:lnTo>
                    <a:pt x="127736" y="99571"/>
                  </a:lnTo>
                  <a:cubicBezTo>
                    <a:pt x="126514" y="98961"/>
                    <a:pt x="125903" y="98961"/>
                    <a:pt x="124680" y="98350"/>
                  </a:cubicBezTo>
                  <a:cubicBezTo>
                    <a:pt x="121625" y="97128"/>
                    <a:pt x="119180" y="96517"/>
                    <a:pt x="116735" y="95906"/>
                  </a:cubicBezTo>
                  <a:cubicBezTo>
                    <a:pt x="113679" y="94684"/>
                    <a:pt x="110012" y="94074"/>
                    <a:pt x="106956" y="93463"/>
                  </a:cubicBezTo>
                  <a:cubicBezTo>
                    <a:pt x="104512" y="91019"/>
                    <a:pt x="102678" y="87354"/>
                    <a:pt x="101456" y="83689"/>
                  </a:cubicBezTo>
                  <a:cubicBezTo>
                    <a:pt x="114902" y="75748"/>
                    <a:pt x="124069" y="61698"/>
                    <a:pt x="124069" y="44593"/>
                  </a:cubicBezTo>
                  <a:cubicBezTo>
                    <a:pt x="124069" y="20159"/>
                    <a:pt x="103901" y="0"/>
                    <a:pt x="79453" y="0"/>
                  </a:cubicBezTo>
                  <a:cubicBezTo>
                    <a:pt x="55006" y="0"/>
                    <a:pt x="34837" y="20159"/>
                    <a:pt x="34837" y="44593"/>
                  </a:cubicBezTo>
                  <a:cubicBezTo>
                    <a:pt x="34837" y="61087"/>
                    <a:pt x="44005" y="75748"/>
                    <a:pt x="57451" y="83689"/>
                  </a:cubicBezTo>
                  <a:cubicBezTo>
                    <a:pt x="56229" y="87354"/>
                    <a:pt x="54395" y="91019"/>
                    <a:pt x="51950" y="94074"/>
                  </a:cubicBezTo>
                  <a:cubicBezTo>
                    <a:pt x="45838" y="95295"/>
                    <a:pt x="42171" y="95906"/>
                    <a:pt x="42171" y="95906"/>
                  </a:cubicBezTo>
                  <a:cubicBezTo>
                    <a:pt x="39727" y="96517"/>
                    <a:pt x="37282" y="97128"/>
                    <a:pt x="34226" y="98350"/>
                  </a:cubicBezTo>
                  <a:cubicBezTo>
                    <a:pt x="32392" y="98961"/>
                    <a:pt x="30559" y="99571"/>
                    <a:pt x="28726" y="100182"/>
                  </a:cubicBezTo>
                  <a:cubicBezTo>
                    <a:pt x="28726" y="100182"/>
                    <a:pt x="28726" y="100182"/>
                    <a:pt x="28726" y="100182"/>
                  </a:cubicBezTo>
                  <a:cubicBezTo>
                    <a:pt x="26892" y="100793"/>
                    <a:pt x="25058" y="102015"/>
                    <a:pt x="23225" y="102626"/>
                  </a:cubicBezTo>
                  <a:cubicBezTo>
                    <a:pt x="23225" y="102626"/>
                    <a:pt x="23225" y="102626"/>
                    <a:pt x="23225" y="102626"/>
                  </a:cubicBezTo>
                  <a:cubicBezTo>
                    <a:pt x="20780" y="103847"/>
                    <a:pt x="18335" y="105069"/>
                    <a:pt x="15891" y="106291"/>
                  </a:cubicBezTo>
                  <a:cubicBezTo>
                    <a:pt x="6112" y="111178"/>
                    <a:pt x="0" y="121563"/>
                    <a:pt x="0" y="132558"/>
                  </a:cubicBezTo>
                  <a:lnTo>
                    <a:pt x="0" y="140499"/>
                  </a:lnTo>
                  <a:cubicBezTo>
                    <a:pt x="0" y="147830"/>
                    <a:pt x="4278" y="154549"/>
                    <a:pt x="10390" y="158215"/>
                  </a:cubicBezTo>
                  <a:cubicBezTo>
                    <a:pt x="22614" y="164934"/>
                    <a:pt x="45227" y="172875"/>
                    <a:pt x="79453" y="172875"/>
                  </a:cubicBezTo>
                  <a:cubicBezTo>
                    <a:pt x="113679" y="172875"/>
                    <a:pt x="136293" y="164934"/>
                    <a:pt x="148517" y="158215"/>
                  </a:cubicBezTo>
                  <a:cubicBezTo>
                    <a:pt x="155239" y="154549"/>
                    <a:pt x="158907" y="147830"/>
                    <a:pt x="158907" y="140499"/>
                  </a:cubicBezTo>
                  <a:lnTo>
                    <a:pt x="158907" y="132558"/>
                  </a:lnTo>
                  <a:cubicBezTo>
                    <a:pt x="159518" y="121563"/>
                    <a:pt x="153406" y="111789"/>
                    <a:pt x="143627" y="106291"/>
                  </a:cubicBezTo>
                  <a:close/>
                  <a:moveTo>
                    <a:pt x="40338" y="45204"/>
                  </a:moveTo>
                  <a:cubicBezTo>
                    <a:pt x="40338" y="23213"/>
                    <a:pt x="58062" y="5498"/>
                    <a:pt x="80064" y="5498"/>
                  </a:cubicBezTo>
                  <a:cubicBezTo>
                    <a:pt x="102067" y="5498"/>
                    <a:pt x="119791" y="23213"/>
                    <a:pt x="119791" y="45204"/>
                  </a:cubicBezTo>
                  <a:cubicBezTo>
                    <a:pt x="119791" y="67195"/>
                    <a:pt x="102067" y="84911"/>
                    <a:pt x="80064" y="84911"/>
                  </a:cubicBezTo>
                  <a:cubicBezTo>
                    <a:pt x="58062" y="84911"/>
                    <a:pt x="40338" y="67195"/>
                    <a:pt x="40338" y="45204"/>
                  </a:cubicBezTo>
                  <a:close/>
                  <a:moveTo>
                    <a:pt x="54395" y="100182"/>
                  </a:moveTo>
                  <a:lnTo>
                    <a:pt x="54395" y="100182"/>
                  </a:lnTo>
                  <a:cubicBezTo>
                    <a:pt x="55006" y="100182"/>
                    <a:pt x="55006" y="100182"/>
                    <a:pt x="54395" y="100182"/>
                  </a:cubicBezTo>
                  <a:cubicBezTo>
                    <a:pt x="55006" y="100182"/>
                    <a:pt x="55006" y="100182"/>
                    <a:pt x="55006" y="100182"/>
                  </a:cubicBezTo>
                  <a:lnTo>
                    <a:pt x="55617" y="99571"/>
                  </a:lnTo>
                  <a:cubicBezTo>
                    <a:pt x="55617" y="99571"/>
                    <a:pt x="55617" y="99571"/>
                    <a:pt x="55617" y="99571"/>
                  </a:cubicBezTo>
                  <a:cubicBezTo>
                    <a:pt x="59285" y="95906"/>
                    <a:pt x="61729" y="91630"/>
                    <a:pt x="62951" y="87354"/>
                  </a:cubicBezTo>
                  <a:cubicBezTo>
                    <a:pt x="67841" y="89187"/>
                    <a:pt x="73342" y="90408"/>
                    <a:pt x="79453" y="90408"/>
                  </a:cubicBezTo>
                  <a:cubicBezTo>
                    <a:pt x="85565" y="90408"/>
                    <a:pt x="91066" y="89187"/>
                    <a:pt x="95955" y="87354"/>
                  </a:cubicBezTo>
                  <a:cubicBezTo>
                    <a:pt x="97177" y="91630"/>
                    <a:pt x="99622" y="95906"/>
                    <a:pt x="103289" y="99571"/>
                  </a:cubicBezTo>
                  <a:cubicBezTo>
                    <a:pt x="103289" y="99571"/>
                    <a:pt x="103289" y="99571"/>
                    <a:pt x="103289" y="99571"/>
                  </a:cubicBezTo>
                  <a:cubicBezTo>
                    <a:pt x="103289" y="99571"/>
                    <a:pt x="103901" y="99571"/>
                    <a:pt x="103901" y="100182"/>
                  </a:cubicBezTo>
                  <a:cubicBezTo>
                    <a:pt x="103901" y="100182"/>
                    <a:pt x="104512" y="100182"/>
                    <a:pt x="104512" y="100182"/>
                  </a:cubicBezTo>
                  <a:cubicBezTo>
                    <a:pt x="104512" y="100182"/>
                    <a:pt x="104512" y="100182"/>
                    <a:pt x="104512" y="100182"/>
                  </a:cubicBezTo>
                  <a:cubicBezTo>
                    <a:pt x="105734" y="100182"/>
                    <a:pt x="106956" y="100793"/>
                    <a:pt x="108179" y="100793"/>
                  </a:cubicBezTo>
                  <a:cubicBezTo>
                    <a:pt x="106956" y="111178"/>
                    <a:pt x="94733" y="119730"/>
                    <a:pt x="79453" y="119730"/>
                  </a:cubicBezTo>
                  <a:cubicBezTo>
                    <a:pt x="64174" y="119730"/>
                    <a:pt x="52561" y="111789"/>
                    <a:pt x="50728" y="101404"/>
                  </a:cubicBezTo>
                  <a:cubicBezTo>
                    <a:pt x="51950" y="100182"/>
                    <a:pt x="53173" y="100182"/>
                    <a:pt x="54395" y="100182"/>
                  </a:cubicBezTo>
                  <a:close/>
                  <a:moveTo>
                    <a:pt x="146072" y="153939"/>
                  </a:moveTo>
                  <a:cubicBezTo>
                    <a:pt x="136293" y="159436"/>
                    <a:pt x="114902" y="167988"/>
                    <a:pt x="79453" y="167988"/>
                  </a:cubicBezTo>
                  <a:cubicBezTo>
                    <a:pt x="44616" y="167988"/>
                    <a:pt x="22614" y="159436"/>
                    <a:pt x="12835" y="153939"/>
                  </a:cubicBezTo>
                  <a:cubicBezTo>
                    <a:pt x="8556" y="151495"/>
                    <a:pt x="5500" y="146608"/>
                    <a:pt x="5500" y="141110"/>
                  </a:cubicBezTo>
                  <a:lnTo>
                    <a:pt x="5500" y="133169"/>
                  </a:lnTo>
                  <a:cubicBezTo>
                    <a:pt x="5500" y="124006"/>
                    <a:pt x="10390" y="116065"/>
                    <a:pt x="18335" y="111789"/>
                  </a:cubicBezTo>
                  <a:cubicBezTo>
                    <a:pt x="23836" y="108734"/>
                    <a:pt x="29948" y="106291"/>
                    <a:pt x="35448" y="104458"/>
                  </a:cubicBezTo>
                  <a:cubicBezTo>
                    <a:pt x="38504" y="103237"/>
                    <a:pt x="40949" y="102626"/>
                    <a:pt x="43394" y="102015"/>
                  </a:cubicBezTo>
                  <a:lnTo>
                    <a:pt x="44616" y="102015"/>
                  </a:lnTo>
                  <a:cubicBezTo>
                    <a:pt x="47061" y="114843"/>
                    <a:pt x="61729" y="125228"/>
                    <a:pt x="78842" y="125228"/>
                  </a:cubicBezTo>
                  <a:cubicBezTo>
                    <a:pt x="95955" y="125228"/>
                    <a:pt x="110623" y="114843"/>
                    <a:pt x="113068" y="102015"/>
                  </a:cubicBezTo>
                  <a:cubicBezTo>
                    <a:pt x="113679" y="102015"/>
                    <a:pt x="113679" y="102015"/>
                    <a:pt x="114291" y="102626"/>
                  </a:cubicBezTo>
                  <a:cubicBezTo>
                    <a:pt x="116735" y="103237"/>
                    <a:pt x="119180" y="103847"/>
                    <a:pt x="122236" y="105069"/>
                  </a:cubicBezTo>
                  <a:cubicBezTo>
                    <a:pt x="128348" y="106902"/>
                    <a:pt x="133848" y="109345"/>
                    <a:pt x="139349" y="112400"/>
                  </a:cubicBezTo>
                  <a:cubicBezTo>
                    <a:pt x="147294" y="116676"/>
                    <a:pt x="152184" y="124617"/>
                    <a:pt x="152184" y="133780"/>
                  </a:cubicBezTo>
                  <a:lnTo>
                    <a:pt x="152184" y="141721"/>
                  </a:lnTo>
                  <a:cubicBezTo>
                    <a:pt x="153406" y="146608"/>
                    <a:pt x="150962" y="150884"/>
                    <a:pt x="146072" y="153939"/>
                  </a:cubicBezTo>
                  <a:close/>
                </a:path>
              </a:pathLst>
            </a:custGeom>
            <a:solidFill>
              <a:srgbClr val="2473B9"/>
            </a:solidFill>
            <a:ln w="61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</p:grpSp>
      <p:grpSp>
        <p:nvGrpSpPr>
          <p:cNvPr id="56" name="Group 55">
            <a:extLst>
              <a:ext uri="{FF2B5EF4-FFF2-40B4-BE49-F238E27FC236}">
                <a16:creationId xmlns:a16="http://schemas.microsoft.com/office/drawing/2014/main" id="{C0695C4F-38D0-1049-A0AB-91E3219F1129}"/>
              </a:ext>
            </a:extLst>
          </p:cNvPr>
          <p:cNvGrpSpPr/>
          <p:nvPr/>
        </p:nvGrpSpPr>
        <p:grpSpPr>
          <a:xfrm>
            <a:off x="2770503" y="4596237"/>
            <a:ext cx="853440" cy="853440"/>
            <a:chOff x="4243624" y="656353"/>
            <a:chExt cx="640080" cy="640080"/>
          </a:xfrm>
        </p:grpSpPr>
        <p:sp>
          <p:nvSpPr>
            <p:cNvPr id="57" name="Oval 56">
              <a:extLst>
                <a:ext uri="{FF2B5EF4-FFF2-40B4-BE49-F238E27FC236}">
                  <a16:creationId xmlns:a16="http://schemas.microsoft.com/office/drawing/2014/main" id="{AE12F901-5416-8148-BB16-FA16FFED0534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243624" y="656353"/>
              <a:ext cx="640080" cy="64008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58" name="Graphic 11">
              <a:extLst>
                <a:ext uri="{FF2B5EF4-FFF2-40B4-BE49-F238E27FC236}">
                  <a16:creationId xmlns:a16="http://schemas.microsoft.com/office/drawing/2014/main" id="{3B44EE68-D9AF-EE48-8573-0D9F9FB3CD68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378703" y="775225"/>
              <a:ext cx="369923" cy="402336"/>
            </a:xfrm>
            <a:custGeom>
              <a:avLst/>
              <a:gdLst>
                <a:gd name="connsiteX0" fmla="*/ 143627 w 158948"/>
                <a:gd name="connsiteY0" fmla="*/ 106291 h 172875"/>
                <a:gd name="connsiteX1" fmla="*/ 139960 w 158948"/>
                <a:gd name="connsiteY1" fmla="*/ 104458 h 172875"/>
                <a:gd name="connsiteX2" fmla="*/ 127736 w 158948"/>
                <a:gd name="connsiteY2" fmla="*/ 99571 h 172875"/>
                <a:gd name="connsiteX3" fmla="*/ 127736 w 158948"/>
                <a:gd name="connsiteY3" fmla="*/ 99571 h 172875"/>
                <a:gd name="connsiteX4" fmla="*/ 124680 w 158948"/>
                <a:gd name="connsiteY4" fmla="*/ 98350 h 172875"/>
                <a:gd name="connsiteX5" fmla="*/ 116735 w 158948"/>
                <a:gd name="connsiteY5" fmla="*/ 95906 h 172875"/>
                <a:gd name="connsiteX6" fmla="*/ 106956 w 158948"/>
                <a:gd name="connsiteY6" fmla="*/ 93463 h 172875"/>
                <a:gd name="connsiteX7" fmla="*/ 101456 w 158948"/>
                <a:gd name="connsiteY7" fmla="*/ 83689 h 172875"/>
                <a:gd name="connsiteX8" fmla="*/ 124069 w 158948"/>
                <a:gd name="connsiteY8" fmla="*/ 44593 h 172875"/>
                <a:gd name="connsiteX9" fmla="*/ 79453 w 158948"/>
                <a:gd name="connsiteY9" fmla="*/ 0 h 172875"/>
                <a:gd name="connsiteX10" fmla="*/ 34837 w 158948"/>
                <a:gd name="connsiteY10" fmla="*/ 44593 h 172875"/>
                <a:gd name="connsiteX11" fmla="*/ 57451 w 158948"/>
                <a:gd name="connsiteY11" fmla="*/ 83689 h 172875"/>
                <a:gd name="connsiteX12" fmla="*/ 51950 w 158948"/>
                <a:gd name="connsiteY12" fmla="*/ 94074 h 172875"/>
                <a:gd name="connsiteX13" fmla="*/ 42171 w 158948"/>
                <a:gd name="connsiteY13" fmla="*/ 95906 h 172875"/>
                <a:gd name="connsiteX14" fmla="*/ 34226 w 158948"/>
                <a:gd name="connsiteY14" fmla="*/ 98350 h 172875"/>
                <a:gd name="connsiteX15" fmla="*/ 28726 w 158948"/>
                <a:gd name="connsiteY15" fmla="*/ 100182 h 172875"/>
                <a:gd name="connsiteX16" fmla="*/ 28726 w 158948"/>
                <a:gd name="connsiteY16" fmla="*/ 100182 h 172875"/>
                <a:gd name="connsiteX17" fmla="*/ 23225 w 158948"/>
                <a:gd name="connsiteY17" fmla="*/ 102626 h 172875"/>
                <a:gd name="connsiteX18" fmla="*/ 23225 w 158948"/>
                <a:gd name="connsiteY18" fmla="*/ 102626 h 172875"/>
                <a:gd name="connsiteX19" fmla="*/ 15891 w 158948"/>
                <a:gd name="connsiteY19" fmla="*/ 106291 h 172875"/>
                <a:gd name="connsiteX20" fmla="*/ 0 w 158948"/>
                <a:gd name="connsiteY20" fmla="*/ 132558 h 172875"/>
                <a:gd name="connsiteX21" fmla="*/ 0 w 158948"/>
                <a:gd name="connsiteY21" fmla="*/ 140499 h 172875"/>
                <a:gd name="connsiteX22" fmla="*/ 10390 w 158948"/>
                <a:gd name="connsiteY22" fmla="*/ 158215 h 172875"/>
                <a:gd name="connsiteX23" fmla="*/ 79453 w 158948"/>
                <a:gd name="connsiteY23" fmla="*/ 172875 h 172875"/>
                <a:gd name="connsiteX24" fmla="*/ 148517 w 158948"/>
                <a:gd name="connsiteY24" fmla="*/ 158215 h 172875"/>
                <a:gd name="connsiteX25" fmla="*/ 158907 w 158948"/>
                <a:gd name="connsiteY25" fmla="*/ 140499 h 172875"/>
                <a:gd name="connsiteX26" fmla="*/ 158907 w 158948"/>
                <a:gd name="connsiteY26" fmla="*/ 132558 h 172875"/>
                <a:gd name="connsiteX27" fmla="*/ 143627 w 158948"/>
                <a:gd name="connsiteY27" fmla="*/ 106291 h 172875"/>
                <a:gd name="connsiteX28" fmla="*/ 40338 w 158948"/>
                <a:gd name="connsiteY28" fmla="*/ 45204 h 172875"/>
                <a:gd name="connsiteX29" fmla="*/ 80064 w 158948"/>
                <a:gd name="connsiteY29" fmla="*/ 5498 h 172875"/>
                <a:gd name="connsiteX30" fmla="*/ 119791 w 158948"/>
                <a:gd name="connsiteY30" fmla="*/ 45204 h 172875"/>
                <a:gd name="connsiteX31" fmla="*/ 80064 w 158948"/>
                <a:gd name="connsiteY31" fmla="*/ 84911 h 172875"/>
                <a:gd name="connsiteX32" fmla="*/ 40338 w 158948"/>
                <a:gd name="connsiteY32" fmla="*/ 45204 h 172875"/>
                <a:gd name="connsiteX33" fmla="*/ 54395 w 158948"/>
                <a:gd name="connsiteY33" fmla="*/ 100182 h 172875"/>
                <a:gd name="connsiteX34" fmla="*/ 54395 w 158948"/>
                <a:gd name="connsiteY34" fmla="*/ 100182 h 172875"/>
                <a:gd name="connsiteX35" fmla="*/ 54395 w 158948"/>
                <a:gd name="connsiteY35" fmla="*/ 100182 h 172875"/>
                <a:gd name="connsiteX36" fmla="*/ 55006 w 158948"/>
                <a:gd name="connsiteY36" fmla="*/ 100182 h 172875"/>
                <a:gd name="connsiteX37" fmla="*/ 55617 w 158948"/>
                <a:gd name="connsiteY37" fmla="*/ 99571 h 172875"/>
                <a:gd name="connsiteX38" fmla="*/ 55617 w 158948"/>
                <a:gd name="connsiteY38" fmla="*/ 99571 h 172875"/>
                <a:gd name="connsiteX39" fmla="*/ 62951 w 158948"/>
                <a:gd name="connsiteY39" fmla="*/ 87354 h 172875"/>
                <a:gd name="connsiteX40" fmla="*/ 79453 w 158948"/>
                <a:gd name="connsiteY40" fmla="*/ 90408 h 172875"/>
                <a:gd name="connsiteX41" fmla="*/ 95955 w 158948"/>
                <a:gd name="connsiteY41" fmla="*/ 87354 h 172875"/>
                <a:gd name="connsiteX42" fmla="*/ 103289 w 158948"/>
                <a:gd name="connsiteY42" fmla="*/ 99571 h 172875"/>
                <a:gd name="connsiteX43" fmla="*/ 103289 w 158948"/>
                <a:gd name="connsiteY43" fmla="*/ 99571 h 172875"/>
                <a:gd name="connsiteX44" fmla="*/ 103901 w 158948"/>
                <a:gd name="connsiteY44" fmla="*/ 100182 h 172875"/>
                <a:gd name="connsiteX45" fmla="*/ 104512 w 158948"/>
                <a:gd name="connsiteY45" fmla="*/ 100182 h 172875"/>
                <a:gd name="connsiteX46" fmla="*/ 104512 w 158948"/>
                <a:gd name="connsiteY46" fmla="*/ 100182 h 172875"/>
                <a:gd name="connsiteX47" fmla="*/ 108179 w 158948"/>
                <a:gd name="connsiteY47" fmla="*/ 100793 h 172875"/>
                <a:gd name="connsiteX48" fmla="*/ 79453 w 158948"/>
                <a:gd name="connsiteY48" fmla="*/ 119730 h 172875"/>
                <a:gd name="connsiteX49" fmla="*/ 50728 w 158948"/>
                <a:gd name="connsiteY49" fmla="*/ 101404 h 172875"/>
                <a:gd name="connsiteX50" fmla="*/ 54395 w 158948"/>
                <a:gd name="connsiteY50" fmla="*/ 100182 h 172875"/>
                <a:gd name="connsiteX51" fmla="*/ 146072 w 158948"/>
                <a:gd name="connsiteY51" fmla="*/ 153939 h 172875"/>
                <a:gd name="connsiteX52" fmla="*/ 79453 w 158948"/>
                <a:gd name="connsiteY52" fmla="*/ 167988 h 172875"/>
                <a:gd name="connsiteX53" fmla="*/ 12835 w 158948"/>
                <a:gd name="connsiteY53" fmla="*/ 153939 h 172875"/>
                <a:gd name="connsiteX54" fmla="*/ 5500 w 158948"/>
                <a:gd name="connsiteY54" fmla="*/ 141110 h 172875"/>
                <a:gd name="connsiteX55" fmla="*/ 5500 w 158948"/>
                <a:gd name="connsiteY55" fmla="*/ 133169 h 172875"/>
                <a:gd name="connsiteX56" fmla="*/ 18335 w 158948"/>
                <a:gd name="connsiteY56" fmla="*/ 111789 h 172875"/>
                <a:gd name="connsiteX57" fmla="*/ 35448 w 158948"/>
                <a:gd name="connsiteY57" fmla="*/ 104458 h 172875"/>
                <a:gd name="connsiteX58" fmla="*/ 43394 w 158948"/>
                <a:gd name="connsiteY58" fmla="*/ 102015 h 172875"/>
                <a:gd name="connsiteX59" fmla="*/ 44616 w 158948"/>
                <a:gd name="connsiteY59" fmla="*/ 102015 h 172875"/>
                <a:gd name="connsiteX60" fmla="*/ 78842 w 158948"/>
                <a:gd name="connsiteY60" fmla="*/ 125228 h 172875"/>
                <a:gd name="connsiteX61" fmla="*/ 113068 w 158948"/>
                <a:gd name="connsiteY61" fmla="*/ 102015 h 172875"/>
                <a:gd name="connsiteX62" fmla="*/ 114291 w 158948"/>
                <a:gd name="connsiteY62" fmla="*/ 102626 h 172875"/>
                <a:gd name="connsiteX63" fmla="*/ 122236 w 158948"/>
                <a:gd name="connsiteY63" fmla="*/ 105069 h 172875"/>
                <a:gd name="connsiteX64" fmla="*/ 139349 w 158948"/>
                <a:gd name="connsiteY64" fmla="*/ 112400 h 172875"/>
                <a:gd name="connsiteX65" fmla="*/ 152184 w 158948"/>
                <a:gd name="connsiteY65" fmla="*/ 133780 h 172875"/>
                <a:gd name="connsiteX66" fmla="*/ 152184 w 158948"/>
                <a:gd name="connsiteY66" fmla="*/ 141721 h 172875"/>
                <a:gd name="connsiteX67" fmla="*/ 146072 w 158948"/>
                <a:gd name="connsiteY67" fmla="*/ 153939 h 172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158948" h="172875">
                  <a:moveTo>
                    <a:pt x="143627" y="106291"/>
                  </a:moveTo>
                  <a:cubicBezTo>
                    <a:pt x="142405" y="105680"/>
                    <a:pt x="141182" y="105069"/>
                    <a:pt x="139960" y="104458"/>
                  </a:cubicBezTo>
                  <a:cubicBezTo>
                    <a:pt x="136904" y="102626"/>
                    <a:pt x="127736" y="99571"/>
                    <a:pt x="127736" y="99571"/>
                  </a:cubicBezTo>
                  <a:lnTo>
                    <a:pt x="127736" y="99571"/>
                  </a:lnTo>
                  <a:cubicBezTo>
                    <a:pt x="126514" y="98961"/>
                    <a:pt x="125903" y="98961"/>
                    <a:pt x="124680" y="98350"/>
                  </a:cubicBezTo>
                  <a:cubicBezTo>
                    <a:pt x="121625" y="97128"/>
                    <a:pt x="119180" y="96517"/>
                    <a:pt x="116735" y="95906"/>
                  </a:cubicBezTo>
                  <a:cubicBezTo>
                    <a:pt x="113679" y="94684"/>
                    <a:pt x="110012" y="94074"/>
                    <a:pt x="106956" y="93463"/>
                  </a:cubicBezTo>
                  <a:cubicBezTo>
                    <a:pt x="104512" y="91019"/>
                    <a:pt x="102678" y="87354"/>
                    <a:pt x="101456" y="83689"/>
                  </a:cubicBezTo>
                  <a:cubicBezTo>
                    <a:pt x="114902" y="75748"/>
                    <a:pt x="124069" y="61698"/>
                    <a:pt x="124069" y="44593"/>
                  </a:cubicBezTo>
                  <a:cubicBezTo>
                    <a:pt x="124069" y="20159"/>
                    <a:pt x="103901" y="0"/>
                    <a:pt x="79453" y="0"/>
                  </a:cubicBezTo>
                  <a:cubicBezTo>
                    <a:pt x="55006" y="0"/>
                    <a:pt x="34837" y="20159"/>
                    <a:pt x="34837" y="44593"/>
                  </a:cubicBezTo>
                  <a:cubicBezTo>
                    <a:pt x="34837" y="61087"/>
                    <a:pt x="44005" y="75748"/>
                    <a:pt x="57451" y="83689"/>
                  </a:cubicBezTo>
                  <a:cubicBezTo>
                    <a:pt x="56229" y="87354"/>
                    <a:pt x="54395" y="91019"/>
                    <a:pt x="51950" y="94074"/>
                  </a:cubicBezTo>
                  <a:cubicBezTo>
                    <a:pt x="45838" y="95295"/>
                    <a:pt x="42171" y="95906"/>
                    <a:pt x="42171" y="95906"/>
                  </a:cubicBezTo>
                  <a:cubicBezTo>
                    <a:pt x="39727" y="96517"/>
                    <a:pt x="37282" y="97128"/>
                    <a:pt x="34226" y="98350"/>
                  </a:cubicBezTo>
                  <a:cubicBezTo>
                    <a:pt x="32392" y="98961"/>
                    <a:pt x="30559" y="99571"/>
                    <a:pt x="28726" y="100182"/>
                  </a:cubicBezTo>
                  <a:cubicBezTo>
                    <a:pt x="28726" y="100182"/>
                    <a:pt x="28726" y="100182"/>
                    <a:pt x="28726" y="100182"/>
                  </a:cubicBezTo>
                  <a:cubicBezTo>
                    <a:pt x="26892" y="100793"/>
                    <a:pt x="25058" y="102015"/>
                    <a:pt x="23225" y="102626"/>
                  </a:cubicBezTo>
                  <a:cubicBezTo>
                    <a:pt x="23225" y="102626"/>
                    <a:pt x="23225" y="102626"/>
                    <a:pt x="23225" y="102626"/>
                  </a:cubicBezTo>
                  <a:cubicBezTo>
                    <a:pt x="20780" y="103847"/>
                    <a:pt x="18335" y="105069"/>
                    <a:pt x="15891" y="106291"/>
                  </a:cubicBezTo>
                  <a:cubicBezTo>
                    <a:pt x="6112" y="111178"/>
                    <a:pt x="0" y="121563"/>
                    <a:pt x="0" y="132558"/>
                  </a:cubicBezTo>
                  <a:lnTo>
                    <a:pt x="0" y="140499"/>
                  </a:lnTo>
                  <a:cubicBezTo>
                    <a:pt x="0" y="147830"/>
                    <a:pt x="4278" y="154549"/>
                    <a:pt x="10390" y="158215"/>
                  </a:cubicBezTo>
                  <a:cubicBezTo>
                    <a:pt x="22614" y="164934"/>
                    <a:pt x="45227" y="172875"/>
                    <a:pt x="79453" y="172875"/>
                  </a:cubicBezTo>
                  <a:cubicBezTo>
                    <a:pt x="113679" y="172875"/>
                    <a:pt x="136293" y="164934"/>
                    <a:pt x="148517" y="158215"/>
                  </a:cubicBezTo>
                  <a:cubicBezTo>
                    <a:pt x="155239" y="154549"/>
                    <a:pt x="158907" y="147830"/>
                    <a:pt x="158907" y="140499"/>
                  </a:cubicBezTo>
                  <a:lnTo>
                    <a:pt x="158907" y="132558"/>
                  </a:lnTo>
                  <a:cubicBezTo>
                    <a:pt x="159518" y="121563"/>
                    <a:pt x="153406" y="111789"/>
                    <a:pt x="143627" y="106291"/>
                  </a:cubicBezTo>
                  <a:close/>
                  <a:moveTo>
                    <a:pt x="40338" y="45204"/>
                  </a:moveTo>
                  <a:cubicBezTo>
                    <a:pt x="40338" y="23213"/>
                    <a:pt x="58062" y="5498"/>
                    <a:pt x="80064" y="5498"/>
                  </a:cubicBezTo>
                  <a:cubicBezTo>
                    <a:pt x="102067" y="5498"/>
                    <a:pt x="119791" y="23213"/>
                    <a:pt x="119791" y="45204"/>
                  </a:cubicBezTo>
                  <a:cubicBezTo>
                    <a:pt x="119791" y="67195"/>
                    <a:pt x="102067" y="84911"/>
                    <a:pt x="80064" y="84911"/>
                  </a:cubicBezTo>
                  <a:cubicBezTo>
                    <a:pt x="58062" y="84911"/>
                    <a:pt x="40338" y="67195"/>
                    <a:pt x="40338" y="45204"/>
                  </a:cubicBezTo>
                  <a:close/>
                  <a:moveTo>
                    <a:pt x="54395" y="100182"/>
                  </a:moveTo>
                  <a:lnTo>
                    <a:pt x="54395" y="100182"/>
                  </a:lnTo>
                  <a:cubicBezTo>
                    <a:pt x="55006" y="100182"/>
                    <a:pt x="55006" y="100182"/>
                    <a:pt x="54395" y="100182"/>
                  </a:cubicBezTo>
                  <a:cubicBezTo>
                    <a:pt x="55006" y="100182"/>
                    <a:pt x="55006" y="100182"/>
                    <a:pt x="55006" y="100182"/>
                  </a:cubicBezTo>
                  <a:lnTo>
                    <a:pt x="55617" y="99571"/>
                  </a:lnTo>
                  <a:cubicBezTo>
                    <a:pt x="55617" y="99571"/>
                    <a:pt x="55617" y="99571"/>
                    <a:pt x="55617" y="99571"/>
                  </a:cubicBezTo>
                  <a:cubicBezTo>
                    <a:pt x="59285" y="95906"/>
                    <a:pt x="61729" y="91630"/>
                    <a:pt x="62951" y="87354"/>
                  </a:cubicBezTo>
                  <a:cubicBezTo>
                    <a:pt x="67841" y="89187"/>
                    <a:pt x="73342" y="90408"/>
                    <a:pt x="79453" y="90408"/>
                  </a:cubicBezTo>
                  <a:cubicBezTo>
                    <a:pt x="85565" y="90408"/>
                    <a:pt x="91066" y="89187"/>
                    <a:pt x="95955" y="87354"/>
                  </a:cubicBezTo>
                  <a:cubicBezTo>
                    <a:pt x="97177" y="91630"/>
                    <a:pt x="99622" y="95906"/>
                    <a:pt x="103289" y="99571"/>
                  </a:cubicBezTo>
                  <a:cubicBezTo>
                    <a:pt x="103289" y="99571"/>
                    <a:pt x="103289" y="99571"/>
                    <a:pt x="103289" y="99571"/>
                  </a:cubicBezTo>
                  <a:cubicBezTo>
                    <a:pt x="103289" y="99571"/>
                    <a:pt x="103901" y="99571"/>
                    <a:pt x="103901" y="100182"/>
                  </a:cubicBezTo>
                  <a:cubicBezTo>
                    <a:pt x="103901" y="100182"/>
                    <a:pt x="104512" y="100182"/>
                    <a:pt x="104512" y="100182"/>
                  </a:cubicBezTo>
                  <a:cubicBezTo>
                    <a:pt x="104512" y="100182"/>
                    <a:pt x="104512" y="100182"/>
                    <a:pt x="104512" y="100182"/>
                  </a:cubicBezTo>
                  <a:cubicBezTo>
                    <a:pt x="105734" y="100182"/>
                    <a:pt x="106956" y="100793"/>
                    <a:pt x="108179" y="100793"/>
                  </a:cubicBezTo>
                  <a:cubicBezTo>
                    <a:pt x="106956" y="111178"/>
                    <a:pt x="94733" y="119730"/>
                    <a:pt x="79453" y="119730"/>
                  </a:cubicBezTo>
                  <a:cubicBezTo>
                    <a:pt x="64174" y="119730"/>
                    <a:pt x="52561" y="111789"/>
                    <a:pt x="50728" y="101404"/>
                  </a:cubicBezTo>
                  <a:cubicBezTo>
                    <a:pt x="51950" y="100182"/>
                    <a:pt x="53173" y="100182"/>
                    <a:pt x="54395" y="100182"/>
                  </a:cubicBezTo>
                  <a:close/>
                  <a:moveTo>
                    <a:pt x="146072" y="153939"/>
                  </a:moveTo>
                  <a:cubicBezTo>
                    <a:pt x="136293" y="159436"/>
                    <a:pt x="114902" y="167988"/>
                    <a:pt x="79453" y="167988"/>
                  </a:cubicBezTo>
                  <a:cubicBezTo>
                    <a:pt x="44616" y="167988"/>
                    <a:pt x="22614" y="159436"/>
                    <a:pt x="12835" y="153939"/>
                  </a:cubicBezTo>
                  <a:cubicBezTo>
                    <a:pt x="8556" y="151495"/>
                    <a:pt x="5500" y="146608"/>
                    <a:pt x="5500" y="141110"/>
                  </a:cubicBezTo>
                  <a:lnTo>
                    <a:pt x="5500" y="133169"/>
                  </a:lnTo>
                  <a:cubicBezTo>
                    <a:pt x="5500" y="124006"/>
                    <a:pt x="10390" y="116065"/>
                    <a:pt x="18335" y="111789"/>
                  </a:cubicBezTo>
                  <a:cubicBezTo>
                    <a:pt x="23836" y="108734"/>
                    <a:pt x="29948" y="106291"/>
                    <a:pt x="35448" y="104458"/>
                  </a:cubicBezTo>
                  <a:cubicBezTo>
                    <a:pt x="38504" y="103237"/>
                    <a:pt x="40949" y="102626"/>
                    <a:pt x="43394" y="102015"/>
                  </a:cubicBezTo>
                  <a:lnTo>
                    <a:pt x="44616" y="102015"/>
                  </a:lnTo>
                  <a:cubicBezTo>
                    <a:pt x="47061" y="114843"/>
                    <a:pt x="61729" y="125228"/>
                    <a:pt x="78842" y="125228"/>
                  </a:cubicBezTo>
                  <a:cubicBezTo>
                    <a:pt x="95955" y="125228"/>
                    <a:pt x="110623" y="114843"/>
                    <a:pt x="113068" y="102015"/>
                  </a:cubicBezTo>
                  <a:cubicBezTo>
                    <a:pt x="113679" y="102015"/>
                    <a:pt x="113679" y="102015"/>
                    <a:pt x="114291" y="102626"/>
                  </a:cubicBezTo>
                  <a:cubicBezTo>
                    <a:pt x="116735" y="103237"/>
                    <a:pt x="119180" y="103847"/>
                    <a:pt x="122236" y="105069"/>
                  </a:cubicBezTo>
                  <a:cubicBezTo>
                    <a:pt x="128348" y="106902"/>
                    <a:pt x="133848" y="109345"/>
                    <a:pt x="139349" y="112400"/>
                  </a:cubicBezTo>
                  <a:cubicBezTo>
                    <a:pt x="147294" y="116676"/>
                    <a:pt x="152184" y="124617"/>
                    <a:pt x="152184" y="133780"/>
                  </a:cubicBezTo>
                  <a:lnTo>
                    <a:pt x="152184" y="141721"/>
                  </a:lnTo>
                  <a:cubicBezTo>
                    <a:pt x="153406" y="146608"/>
                    <a:pt x="150962" y="150884"/>
                    <a:pt x="146072" y="153939"/>
                  </a:cubicBezTo>
                  <a:close/>
                </a:path>
              </a:pathLst>
            </a:custGeom>
            <a:solidFill>
              <a:srgbClr val="2473B9"/>
            </a:solidFill>
            <a:ln w="61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</p:grpSp>
      <p:grpSp>
        <p:nvGrpSpPr>
          <p:cNvPr id="59" name="Group 58">
            <a:extLst>
              <a:ext uri="{FF2B5EF4-FFF2-40B4-BE49-F238E27FC236}">
                <a16:creationId xmlns:a16="http://schemas.microsoft.com/office/drawing/2014/main" id="{9D740595-E811-864C-986D-D4C0D34047F1}"/>
              </a:ext>
            </a:extLst>
          </p:cNvPr>
          <p:cNvGrpSpPr/>
          <p:nvPr/>
        </p:nvGrpSpPr>
        <p:grpSpPr>
          <a:xfrm>
            <a:off x="10466708" y="4596237"/>
            <a:ext cx="853440" cy="853440"/>
            <a:chOff x="4243624" y="656353"/>
            <a:chExt cx="640080" cy="640080"/>
          </a:xfrm>
        </p:grpSpPr>
        <p:sp>
          <p:nvSpPr>
            <p:cNvPr id="60" name="Oval 59">
              <a:extLst>
                <a:ext uri="{FF2B5EF4-FFF2-40B4-BE49-F238E27FC236}">
                  <a16:creationId xmlns:a16="http://schemas.microsoft.com/office/drawing/2014/main" id="{39A3CC05-F813-B74D-8951-14357ADF7AA4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243624" y="656353"/>
              <a:ext cx="640080" cy="64008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61" name="Graphic 11">
              <a:extLst>
                <a:ext uri="{FF2B5EF4-FFF2-40B4-BE49-F238E27FC236}">
                  <a16:creationId xmlns:a16="http://schemas.microsoft.com/office/drawing/2014/main" id="{39247C19-159D-5247-8E2A-71FD7D001AA6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378703" y="775225"/>
              <a:ext cx="369923" cy="402336"/>
            </a:xfrm>
            <a:custGeom>
              <a:avLst/>
              <a:gdLst>
                <a:gd name="connsiteX0" fmla="*/ 143627 w 158948"/>
                <a:gd name="connsiteY0" fmla="*/ 106291 h 172875"/>
                <a:gd name="connsiteX1" fmla="*/ 139960 w 158948"/>
                <a:gd name="connsiteY1" fmla="*/ 104458 h 172875"/>
                <a:gd name="connsiteX2" fmla="*/ 127736 w 158948"/>
                <a:gd name="connsiteY2" fmla="*/ 99571 h 172875"/>
                <a:gd name="connsiteX3" fmla="*/ 127736 w 158948"/>
                <a:gd name="connsiteY3" fmla="*/ 99571 h 172875"/>
                <a:gd name="connsiteX4" fmla="*/ 124680 w 158948"/>
                <a:gd name="connsiteY4" fmla="*/ 98350 h 172875"/>
                <a:gd name="connsiteX5" fmla="*/ 116735 w 158948"/>
                <a:gd name="connsiteY5" fmla="*/ 95906 h 172875"/>
                <a:gd name="connsiteX6" fmla="*/ 106956 w 158948"/>
                <a:gd name="connsiteY6" fmla="*/ 93463 h 172875"/>
                <a:gd name="connsiteX7" fmla="*/ 101456 w 158948"/>
                <a:gd name="connsiteY7" fmla="*/ 83689 h 172875"/>
                <a:gd name="connsiteX8" fmla="*/ 124069 w 158948"/>
                <a:gd name="connsiteY8" fmla="*/ 44593 h 172875"/>
                <a:gd name="connsiteX9" fmla="*/ 79453 w 158948"/>
                <a:gd name="connsiteY9" fmla="*/ 0 h 172875"/>
                <a:gd name="connsiteX10" fmla="*/ 34837 w 158948"/>
                <a:gd name="connsiteY10" fmla="*/ 44593 h 172875"/>
                <a:gd name="connsiteX11" fmla="*/ 57451 w 158948"/>
                <a:gd name="connsiteY11" fmla="*/ 83689 h 172875"/>
                <a:gd name="connsiteX12" fmla="*/ 51950 w 158948"/>
                <a:gd name="connsiteY12" fmla="*/ 94074 h 172875"/>
                <a:gd name="connsiteX13" fmla="*/ 42171 w 158948"/>
                <a:gd name="connsiteY13" fmla="*/ 95906 h 172875"/>
                <a:gd name="connsiteX14" fmla="*/ 34226 w 158948"/>
                <a:gd name="connsiteY14" fmla="*/ 98350 h 172875"/>
                <a:gd name="connsiteX15" fmla="*/ 28726 w 158948"/>
                <a:gd name="connsiteY15" fmla="*/ 100182 h 172875"/>
                <a:gd name="connsiteX16" fmla="*/ 28726 w 158948"/>
                <a:gd name="connsiteY16" fmla="*/ 100182 h 172875"/>
                <a:gd name="connsiteX17" fmla="*/ 23225 w 158948"/>
                <a:gd name="connsiteY17" fmla="*/ 102626 h 172875"/>
                <a:gd name="connsiteX18" fmla="*/ 23225 w 158948"/>
                <a:gd name="connsiteY18" fmla="*/ 102626 h 172875"/>
                <a:gd name="connsiteX19" fmla="*/ 15891 w 158948"/>
                <a:gd name="connsiteY19" fmla="*/ 106291 h 172875"/>
                <a:gd name="connsiteX20" fmla="*/ 0 w 158948"/>
                <a:gd name="connsiteY20" fmla="*/ 132558 h 172875"/>
                <a:gd name="connsiteX21" fmla="*/ 0 w 158948"/>
                <a:gd name="connsiteY21" fmla="*/ 140499 h 172875"/>
                <a:gd name="connsiteX22" fmla="*/ 10390 w 158948"/>
                <a:gd name="connsiteY22" fmla="*/ 158215 h 172875"/>
                <a:gd name="connsiteX23" fmla="*/ 79453 w 158948"/>
                <a:gd name="connsiteY23" fmla="*/ 172875 h 172875"/>
                <a:gd name="connsiteX24" fmla="*/ 148517 w 158948"/>
                <a:gd name="connsiteY24" fmla="*/ 158215 h 172875"/>
                <a:gd name="connsiteX25" fmla="*/ 158907 w 158948"/>
                <a:gd name="connsiteY25" fmla="*/ 140499 h 172875"/>
                <a:gd name="connsiteX26" fmla="*/ 158907 w 158948"/>
                <a:gd name="connsiteY26" fmla="*/ 132558 h 172875"/>
                <a:gd name="connsiteX27" fmla="*/ 143627 w 158948"/>
                <a:gd name="connsiteY27" fmla="*/ 106291 h 172875"/>
                <a:gd name="connsiteX28" fmla="*/ 40338 w 158948"/>
                <a:gd name="connsiteY28" fmla="*/ 45204 h 172875"/>
                <a:gd name="connsiteX29" fmla="*/ 80064 w 158948"/>
                <a:gd name="connsiteY29" fmla="*/ 5498 h 172875"/>
                <a:gd name="connsiteX30" fmla="*/ 119791 w 158948"/>
                <a:gd name="connsiteY30" fmla="*/ 45204 h 172875"/>
                <a:gd name="connsiteX31" fmla="*/ 80064 w 158948"/>
                <a:gd name="connsiteY31" fmla="*/ 84911 h 172875"/>
                <a:gd name="connsiteX32" fmla="*/ 40338 w 158948"/>
                <a:gd name="connsiteY32" fmla="*/ 45204 h 172875"/>
                <a:gd name="connsiteX33" fmla="*/ 54395 w 158948"/>
                <a:gd name="connsiteY33" fmla="*/ 100182 h 172875"/>
                <a:gd name="connsiteX34" fmla="*/ 54395 w 158948"/>
                <a:gd name="connsiteY34" fmla="*/ 100182 h 172875"/>
                <a:gd name="connsiteX35" fmla="*/ 54395 w 158948"/>
                <a:gd name="connsiteY35" fmla="*/ 100182 h 172875"/>
                <a:gd name="connsiteX36" fmla="*/ 55006 w 158948"/>
                <a:gd name="connsiteY36" fmla="*/ 100182 h 172875"/>
                <a:gd name="connsiteX37" fmla="*/ 55617 w 158948"/>
                <a:gd name="connsiteY37" fmla="*/ 99571 h 172875"/>
                <a:gd name="connsiteX38" fmla="*/ 55617 w 158948"/>
                <a:gd name="connsiteY38" fmla="*/ 99571 h 172875"/>
                <a:gd name="connsiteX39" fmla="*/ 62951 w 158948"/>
                <a:gd name="connsiteY39" fmla="*/ 87354 h 172875"/>
                <a:gd name="connsiteX40" fmla="*/ 79453 w 158948"/>
                <a:gd name="connsiteY40" fmla="*/ 90408 h 172875"/>
                <a:gd name="connsiteX41" fmla="*/ 95955 w 158948"/>
                <a:gd name="connsiteY41" fmla="*/ 87354 h 172875"/>
                <a:gd name="connsiteX42" fmla="*/ 103289 w 158948"/>
                <a:gd name="connsiteY42" fmla="*/ 99571 h 172875"/>
                <a:gd name="connsiteX43" fmla="*/ 103289 w 158948"/>
                <a:gd name="connsiteY43" fmla="*/ 99571 h 172875"/>
                <a:gd name="connsiteX44" fmla="*/ 103901 w 158948"/>
                <a:gd name="connsiteY44" fmla="*/ 100182 h 172875"/>
                <a:gd name="connsiteX45" fmla="*/ 104512 w 158948"/>
                <a:gd name="connsiteY45" fmla="*/ 100182 h 172875"/>
                <a:gd name="connsiteX46" fmla="*/ 104512 w 158948"/>
                <a:gd name="connsiteY46" fmla="*/ 100182 h 172875"/>
                <a:gd name="connsiteX47" fmla="*/ 108179 w 158948"/>
                <a:gd name="connsiteY47" fmla="*/ 100793 h 172875"/>
                <a:gd name="connsiteX48" fmla="*/ 79453 w 158948"/>
                <a:gd name="connsiteY48" fmla="*/ 119730 h 172875"/>
                <a:gd name="connsiteX49" fmla="*/ 50728 w 158948"/>
                <a:gd name="connsiteY49" fmla="*/ 101404 h 172875"/>
                <a:gd name="connsiteX50" fmla="*/ 54395 w 158948"/>
                <a:gd name="connsiteY50" fmla="*/ 100182 h 172875"/>
                <a:gd name="connsiteX51" fmla="*/ 146072 w 158948"/>
                <a:gd name="connsiteY51" fmla="*/ 153939 h 172875"/>
                <a:gd name="connsiteX52" fmla="*/ 79453 w 158948"/>
                <a:gd name="connsiteY52" fmla="*/ 167988 h 172875"/>
                <a:gd name="connsiteX53" fmla="*/ 12835 w 158948"/>
                <a:gd name="connsiteY53" fmla="*/ 153939 h 172875"/>
                <a:gd name="connsiteX54" fmla="*/ 5500 w 158948"/>
                <a:gd name="connsiteY54" fmla="*/ 141110 h 172875"/>
                <a:gd name="connsiteX55" fmla="*/ 5500 w 158948"/>
                <a:gd name="connsiteY55" fmla="*/ 133169 h 172875"/>
                <a:gd name="connsiteX56" fmla="*/ 18335 w 158948"/>
                <a:gd name="connsiteY56" fmla="*/ 111789 h 172875"/>
                <a:gd name="connsiteX57" fmla="*/ 35448 w 158948"/>
                <a:gd name="connsiteY57" fmla="*/ 104458 h 172875"/>
                <a:gd name="connsiteX58" fmla="*/ 43394 w 158948"/>
                <a:gd name="connsiteY58" fmla="*/ 102015 h 172875"/>
                <a:gd name="connsiteX59" fmla="*/ 44616 w 158948"/>
                <a:gd name="connsiteY59" fmla="*/ 102015 h 172875"/>
                <a:gd name="connsiteX60" fmla="*/ 78842 w 158948"/>
                <a:gd name="connsiteY60" fmla="*/ 125228 h 172875"/>
                <a:gd name="connsiteX61" fmla="*/ 113068 w 158948"/>
                <a:gd name="connsiteY61" fmla="*/ 102015 h 172875"/>
                <a:gd name="connsiteX62" fmla="*/ 114291 w 158948"/>
                <a:gd name="connsiteY62" fmla="*/ 102626 h 172875"/>
                <a:gd name="connsiteX63" fmla="*/ 122236 w 158948"/>
                <a:gd name="connsiteY63" fmla="*/ 105069 h 172875"/>
                <a:gd name="connsiteX64" fmla="*/ 139349 w 158948"/>
                <a:gd name="connsiteY64" fmla="*/ 112400 h 172875"/>
                <a:gd name="connsiteX65" fmla="*/ 152184 w 158948"/>
                <a:gd name="connsiteY65" fmla="*/ 133780 h 172875"/>
                <a:gd name="connsiteX66" fmla="*/ 152184 w 158948"/>
                <a:gd name="connsiteY66" fmla="*/ 141721 h 172875"/>
                <a:gd name="connsiteX67" fmla="*/ 146072 w 158948"/>
                <a:gd name="connsiteY67" fmla="*/ 153939 h 172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158948" h="172875">
                  <a:moveTo>
                    <a:pt x="143627" y="106291"/>
                  </a:moveTo>
                  <a:cubicBezTo>
                    <a:pt x="142405" y="105680"/>
                    <a:pt x="141182" y="105069"/>
                    <a:pt x="139960" y="104458"/>
                  </a:cubicBezTo>
                  <a:cubicBezTo>
                    <a:pt x="136904" y="102626"/>
                    <a:pt x="127736" y="99571"/>
                    <a:pt x="127736" y="99571"/>
                  </a:cubicBezTo>
                  <a:lnTo>
                    <a:pt x="127736" y="99571"/>
                  </a:lnTo>
                  <a:cubicBezTo>
                    <a:pt x="126514" y="98961"/>
                    <a:pt x="125903" y="98961"/>
                    <a:pt x="124680" y="98350"/>
                  </a:cubicBezTo>
                  <a:cubicBezTo>
                    <a:pt x="121625" y="97128"/>
                    <a:pt x="119180" y="96517"/>
                    <a:pt x="116735" y="95906"/>
                  </a:cubicBezTo>
                  <a:cubicBezTo>
                    <a:pt x="113679" y="94684"/>
                    <a:pt x="110012" y="94074"/>
                    <a:pt x="106956" y="93463"/>
                  </a:cubicBezTo>
                  <a:cubicBezTo>
                    <a:pt x="104512" y="91019"/>
                    <a:pt x="102678" y="87354"/>
                    <a:pt x="101456" y="83689"/>
                  </a:cubicBezTo>
                  <a:cubicBezTo>
                    <a:pt x="114902" y="75748"/>
                    <a:pt x="124069" y="61698"/>
                    <a:pt x="124069" y="44593"/>
                  </a:cubicBezTo>
                  <a:cubicBezTo>
                    <a:pt x="124069" y="20159"/>
                    <a:pt x="103901" y="0"/>
                    <a:pt x="79453" y="0"/>
                  </a:cubicBezTo>
                  <a:cubicBezTo>
                    <a:pt x="55006" y="0"/>
                    <a:pt x="34837" y="20159"/>
                    <a:pt x="34837" y="44593"/>
                  </a:cubicBezTo>
                  <a:cubicBezTo>
                    <a:pt x="34837" y="61087"/>
                    <a:pt x="44005" y="75748"/>
                    <a:pt x="57451" y="83689"/>
                  </a:cubicBezTo>
                  <a:cubicBezTo>
                    <a:pt x="56229" y="87354"/>
                    <a:pt x="54395" y="91019"/>
                    <a:pt x="51950" y="94074"/>
                  </a:cubicBezTo>
                  <a:cubicBezTo>
                    <a:pt x="45838" y="95295"/>
                    <a:pt x="42171" y="95906"/>
                    <a:pt x="42171" y="95906"/>
                  </a:cubicBezTo>
                  <a:cubicBezTo>
                    <a:pt x="39727" y="96517"/>
                    <a:pt x="37282" y="97128"/>
                    <a:pt x="34226" y="98350"/>
                  </a:cubicBezTo>
                  <a:cubicBezTo>
                    <a:pt x="32392" y="98961"/>
                    <a:pt x="30559" y="99571"/>
                    <a:pt x="28726" y="100182"/>
                  </a:cubicBezTo>
                  <a:cubicBezTo>
                    <a:pt x="28726" y="100182"/>
                    <a:pt x="28726" y="100182"/>
                    <a:pt x="28726" y="100182"/>
                  </a:cubicBezTo>
                  <a:cubicBezTo>
                    <a:pt x="26892" y="100793"/>
                    <a:pt x="25058" y="102015"/>
                    <a:pt x="23225" y="102626"/>
                  </a:cubicBezTo>
                  <a:cubicBezTo>
                    <a:pt x="23225" y="102626"/>
                    <a:pt x="23225" y="102626"/>
                    <a:pt x="23225" y="102626"/>
                  </a:cubicBezTo>
                  <a:cubicBezTo>
                    <a:pt x="20780" y="103847"/>
                    <a:pt x="18335" y="105069"/>
                    <a:pt x="15891" y="106291"/>
                  </a:cubicBezTo>
                  <a:cubicBezTo>
                    <a:pt x="6112" y="111178"/>
                    <a:pt x="0" y="121563"/>
                    <a:pt x="0" y="132558"/>
                  </a:cubicBezTo>
                  <a:lnTo>
                    <a:pt x="0" y="140499"/>
                  </a:lnTo>
                  <a:cubicBezTo>
                    <a:pt x="0" y="147830"/>
                    <a:pt x="4278" y="154549"/>
                    <a:pt x="10390" y="158215"/>
                  </a:cubicBezTo>
                  <a:cubicBezTo>
                    <a:pt x="22614" y="164934"/>
                    <a:pt x="45227" y="172875"/>
                    <a:pt x="79453" y="172875"/>
                  </a:cubicBezTo>
                  <a:cubicBezTo>
                    <a:pt x="113679" y="172875"/>
                    <a:pt x="136293" y="164934"/>
                    <a:pt x="148517" y="158215"/>
                  </a:cubicBezTo>
                  <a:cubicBezTo>
                    <a:pt x="155239" y="154549"/>
                    <a:pt x="158907" y="147830"/>
                    <a:pt x="158907" y="140499"/>
                  </a:cubicBezTo>
                  <a:lnTo>
                    <a:pt x="158907" y="132558"/>
                  </a:lnTo>
                  <a:cubicBezTo>
                    <a:pt x="159518" y="121563"/>
                    <a:pt x="153406" y="111789"/>
                    <a:pt x="143627" y="106291"/>
                  </a:cubicBezTo>
                  <a:close/>
                  <a:moveTo>
                    <a:pt x="40338" y="45204"/>
                  </a:moveTo>
                  <a:cubicBezTo>
                    <a:pt x="40338" y="23213"/>
                    <a:pt x="58062" y="5498"/>
                    <a:pt x="80064" y="5498"/>
                  </a:cubicBezTo>
                  <a:cubicBezTo>
                    <a:pt x="102067" y="5498"/>
                    <a:pt x="119791" y="23213"/>
                    <a:pt x="119791" y="45204"/>
                  </a:cubicBezTo>
                  <a:cubicBezTo>
                    <a:pt x="119791" y="67195"/>
                    <a:pt x="102067" y="84911"/>
                    <a:pt x="80064" y="84911"/>
                  </a:cubicBezTo>
                  <a:cubicBezTo>
                    <a:pt x="58062" y="84911"/>
                    <a:pt x="40338" y="67195"/>
                    <a:pt x="40338" y="45204"/>
                  </a:cubicBezTo>
                  <a:close/>
                  <a:moveTo>
                    <a:pt x="54395" y="100182"/>
                  </a:moveTo>
                  <a:lnTo>
                    <a:pt x="54395" y="100182"/>
                  </a:lnTo>
                  <a:cubicBezTo>
                    <a:pt x="55006" y="100182"/>
                    <a:pt x="55006" y="100182"/>
                    <a:pt x="54395" y="100182"/>
                  </a:cubicBezTo>
                  <a:cubicBezTo>
                    <a:pt x="55006" y="100182"/>
                    <a:pt x="55006" y="100182"/>
                    <a:pt x="55006" y="100182"/>
                  </a:cubicBezTo>
                  <a:lnTo>
                    <a:pt x="55617" y="99571"/>
                  </a:lnTo>
                  <a:cubicBezTo>
                    <a:pt x="55617" y="99571"/>
                    <a:pt x="55617" y="99571"/>
                    <a:pt x="55617" y="99571"/>
                  </a:cubicBezTo>
                  <a:cubicBezTo>
                    <a:pt x="59285" y="95906"/>
                    <a:pt x="61729" y="91630"/>
                    <a:pt x="62951" y="87354"/>
                  </a:cubicBezTo>
                  <a:cubicBezTo>
                    <a:pt x="67841" y="89187"/>
                    <a:pt x="73342" y="90408"/>
                    <a:pt x="79453" y="90408"/>
                  </a:cubicBezTo>
                  <a:cubicBezTo>
                    <a:pt x="85565" y="90408"/>
                    <a:pt x="91066" y="89187"/>
                    <a:pt x="95955" y="87354"/>
                  </a:cubicBezTo>
                  <a:cubicBezTo>
                    <a:pt x="97177" y="91630"/>
                    <a:pt x="99622" y="95906"/>
                    <a:pt x="103289" y="99571"/>
                  </a:cubicBezTo>
                  <a:cubicBezTo>
                    <a:pt x="103289" y="99571"/>
                    <a:pt x="103289" y="99571"/>
                    <a:pt x="103289" y="99571"/>
                  </a:cubicBezTo>
                  <a:cubicBezTo>
                    <a:pt x="103289" y="99571"/>
                    <a:pt x="103901" y="99571"/>
                    <a:pt x="103901" y="100182"/>
                  </a:cubicBezTo>
                  <a:cubicBezTo>
                    <a:pt x="103901" y="100182"/>
                    <a:pt x="104512" y="100182"/>
                    <a:pt x="104512" y="100182"/>
                  </a:cubicBezTo>
                  <a:cubicBezTo>
                    <a:pt x="104512" y="100182"/>
                    <a:pt x="104512" y="100182"/>
                    <a:pt x="104512" y="100182"/>
                  </a:cubicBezTo>
                  <a:cubicBezTo>
                    <a:pt x="105734" y="100182"/>
                    <a:pt x="106956" y="100793"/>
                    <a:pt x="108179" y="100793"/>
                  </a:cubicBezTo>
                  <a:cubicBezTo>
                    <a:pt x="106956" y="111178"/>
                    <a:pt x="94733" y="119730"/>
                    <a:pt x="79453" y="119730"/>
                  </a:cubicBezTo>
                  <a:cubicBezTo>
                    <a:pt x="64174" y="119730"/>
                    <a:pt x="52561" y="111789"/>
                    <a:pt x="50728" y="101404"/>
                  </a:cubicBezTo>
                  <a:cubicBezTo>
                    <a:pt x="51950" y="100182"/>
                    <a:pt x="53173" y="100182"/>
                    <a:pt x="54395" y="100182"/>
                  </a:cubicBezTo>
                  <a:close/>
                  <a:moveTo>
                    <a:pt x="146072" y="153939"/>
                  </a:moveTo>
                  <a:cubicBezTo>
                    <a:pt x="136293" y="159436"/>
                    <a:pt x="114902" y="167988"/>
                    <a:pt x="79453" y="167988"/>
                  </a:cubicBezTo>
                  <a:cubicBezTo>
                    <a:pt x="44616" y="167988"/>
                    <a:pt x="22614" y="159436"/>
                    <a:pt x="12835" y="153939"/>
                  </a:cubicBezTo>
                  <a:cubicBezTo>
                    <a:pt x="8556" y="151495"/>
                    <a:pt x="5500" y="146608"/>
                    <a:pt x="5500" y="141110"/>
                  </a:cubicBezTo>
                  <a:lnTo>
                    <a:pt x="5500" y="133169"/>
                  </a:lnTo>
                  <a:cubicBezTo>
                    <a:pt x="5500" y="124006"/>
                    <a:pt x="10390" y="116065"/>
                    <a:pt x="18335" y="111789"/>
                  </a:cubicBezTo>
                  <a:cubicBezTo>
                    <a:pt x="23836" y="108734"/>
                    <a:pt x="29948" y="106291"/>
                    <a:pt x="35448" y="104458"/>
                  </a:cubicBezTo>
                  <a:cubicBezTo>
                    <a:pt x="38504" y="103237"/>
                    <a:pt x="40949" y="102626"/>
                    <a:pt x="43394" y="102015"/>
                  </a:cubicBezTo>
                  <a:lnTo>
                    <a:pt x="44616" y="102015"/>
                  </a:lnTo>
                  <a:cubicBezTo>
                    <a:pt x="47061" y="114843"/>
                    <a:pt x="61729" y="125228"/>
                    <a:pt x="78842" y="125228"/>
                  </a:cubicBezTo>
                  <a:cubicBezTo>
                    <a:pt x="95955" y="125228"/>
                    <a:pt x="110623" y="114843"/>
                    <a:pt x="113068" y="102015"/>
                  </a:cubicBezTo>
                  <a:cubicBezTo>
                    <a:pt x="113679" y="102015"/>
                    <a:pt x="113679" y="102015"/>
                    <a:pt x="114291" y="102626"/>
                  </a:cubicBezTo>
                  <a:cubicBezTo>
                    <a:pt x="116735" y="103237"/>
                    <a:pt x="119180" y="103847"/>
                    <a:pt x="122236" y="105069"/>
                  </a:cubicBezTo>
                  <a:cubicBezTo>
                    <a:pt x="128348" y="106902"/>
                    <a:pt x="133848" y="109345"/>
                    <a:pt x="139349" y="112400"/>
                  </a:cubicBezTo>
                  <a:cubicBezTo>
                    <a:pt x="147294" y="116676"/>
                    <a:pt x="152184" y="124617"/>
                    <a:pt x="152184" y="133780"/>
                  </a:cubicBezTo>
                  <a:lnTo>
                    <a:pt x="152184" y="141721"/>
                  </a:lnTo>
                  <a:cubicBezTo>
                    <a:pt x="153406" y="146608"/>
                    <a:pt x="150962" y="150884"/>
                    <a:pt x="146072" y="153939"/>
                  </a:cubicBezTo>
                  <a:close/>
                </a:path>
              </a:pathLst>
            </a:custGeom>
            <a:solidFill>
              <a:srgbClr val="2473B9"/>
            </a:solidFill>
            <a:ln w="61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</p:grpSp>
      <p:grpSp>
        <p:nvGrpSpPr>
          <p:cNvPr id="62" name="Group 61">
            <a:extLst>
              <a:ext uri="{FF2B5EF4-FFF2-40B4-BE49-F238E27FC236}">
                <a16:creationId xmlns:a16="http://schemas.microsoft.com/office/drawing/2014/main" id="{3ACC394F-9DC4-964B-930E-3026AAF7DAA2}"/>
              </a:ext>
            </a:extLst>
          </p:cNvPr>
          <p:cNvGrpSpPr/>
          <p:nvPr/>
        </p:nvGrpSpPr>
        <p:grpSpPr>
          <a:xfrm>
            <a:off x="6618604" y="4596237"/>
            <a:ext cx="853440" cy="853440"/>
            <a:chOff x="4243624" y="656353"/>
            <a:chExt cx="640080" cy="640080"/>
          </a:xfrm>
        </p:grpSpPr>
        <p:sp>
          <p:nvSpPr>
            <p:cNvPr id="63" name="Oval 62">
              <a:extLst>
                <a:ext uri="{FF2B5EF4-FFF2-40B4-BE49-F238E27FC236}">
                  <a16:creationId xmlns:a16="http://schemas.microsoft.com/office/drawing/2014/main" id="{D67F606D-8AF0-7C44-BB6E-E1AA23535FA0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243624" y="656353"/>
              <a:ext cx="640080" cy="64008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64" name="Graphic 11">
              <a:extLst>
                <a:ext uri="{FF2B5EF4-FFF2-40B4-BE49-F238E27FC236}">
                  <a16:creationId xmlns:a16="http://schemas.microsoft.com/office/drawing/2014/main" id="{BD6BD840-00CE-D64C-8438-A35B319B2917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378703" y="775225"/>
              <a:ext cx="369923" cy="402336"/>
            </a:xfrm>
            <a:custGeom>
              <a:avLst/>
              <a:gdLst>
                <a:gd name="connsiteX0" fmla="*/ 143627 w 158948"/>
                <a:gd name="connsiteY0" fmla="*/ 106291 h 172875"/>
                <a:gd name="connsiteX1" fmla="*/ 139960 w 158948"/>
                <a:gd name="connsiteY1" fmla="*/ 104458 h 172875"/>
                <a:gd name="connsiteX2" fmla="*/ 127736 w 158948"/>
                <a:gd name="connsiteY2" fmla="*/ 99571 h 172875"/>
                <a:gd name="connsiteX3" fmla="*/ 127736 w 158948"/>
                <a:gd name="connsiteY3" fmla="*/ 99571 h 172875"/>
                <a:gd name="connsiteX4" fmla="*/ 124680 w 158948"/>
                <a:gd name="connsiteY4" fmla="*/ 98350 h 172875"/>
                <a:gd name="connsiteX5" fmla="*/ 116735 w 158948"/>
                <a:gd name="connsiteY5" fmla="*/ 95906 h 172875"/>
                <a:gd name="connsiteX6" fmla="*/ 106956 w 158948"/>
                <a:gd name="connsiteY6" fmla="*/ 93463 h 172875"/>
                <a:gd name="connsiteX7" fmla="*/ 101456 w 158948"/>
                <a:gd name="connsiteY7" fmla="*/ 83689 h 172875"/>
                <a:gd name="connsiteX8" fmla="*/ 124069 w 158948"/>
                <a:gd name="connsiteY8" fmla="*/ 44593 h 172875"/>
                <a:gd name="connsiteX9" fmla="*/ 79453 w 158948"/>
                <a:gd name="connsiteY9" fmla="*/ 0 h 172875"/>
                <a:gd name="connsiteX10" fmla="*/ 34837 w 158948"/>
                <a:gd name="connsiteY10" fmla="*/ 44593 h 172875"/>
                <a:gd name="connsiteX11" fmla="*/ 57451 w 158948"/>
                <a:gd name="connsiteY11" fmla="*/ 83689 h 172875"/>
                <a:gd name="connsiteX12" fmla="*/ 51950 w 158948"/>
                <a:gd name="connsiteY12" fmla="*/ 94074 h 172875"/>
                <a:gd name="connsiteX13" fmla="*/ 42171 w 158948"/>
                <a:gd name="connsiteY13" fmla="*/ 95906 h 172875"/>
                <a:gd name="connsiteX14" fmla="*/ 34226 w 158948"/>
                <a:gd name="connsiteY14" fmla="*/ 98350 h 172875"/>
                <a:gd name="connsiteX15" fmla="*/ 28726 w 158948"/>
                <a:gd name="connsiteY15" fmla="*/ 100182 h 172875"/>
                <a:gd name="connsiteX16" fmla="*/ 28726 w 158948"/>
                <a:gd name="connsiteY16" fmla="*/ 100182 h 172875"/>
                <a:gd name="connsiteX17" fmla="*/ 23225 w 158948"/>
                <a:gd name="connsiteY17" fmla="*/ 102626 h 172875"/>
                <a:gd name="connsiteX18" fmla="*/ 23225 w 158948"/>
                <a:gd name="connsiteY18" fmla="*/ 102626 h 172875"/>
                <a:gd name="connsiteX19" fmla="*/ 15891 w 158948"/>
                <a:gd name="connsiteY19" fmla="*/ 106291 h 172875"/>
                <a:gd name="connsiteX20" fmla="*/ 0 w 158948"/>
                <a:gd name="connsiteY20" fmla="*/ 132558 h 172875"/>
                <a:gd name="connsiteX21" fmla="*/ 0 w 158948"/>
                <a:gd name="connsiteY21" fmla="*/ 140499 h 172875"/>
                <a:gd name="connsiteX22" fmla="*/ 10390 w 158948"/>
                <a:gd name="connsiteY22" fmla="*/ 158215 h 172875"/>
                <a:gd name="connsiteX23" fmla="*/ 79453 w 158948"/>
                <a:gd name="connsiteY23" fmla="*/ 172875 h 172875"/>
                <a:gd name="connsiteX24" fmla="*/ 148517 w 158948"/>
                <a:gd name="connsiteY24" fmla="*/ 158215 h 172875"/>
                <a:gd name="connsiteX25" fmla="*/ 158907 w 158948"/>
                <a:gd name="connsiteY25" fmla="*/ 140499 h 172875"/>
                <a:gd name="connsiteX26" fmla="*/ 158907 w 158948"/>
                <a:gd name="connsiteY26" fmla="*/ 132558 h 172875"/>
                <a:gd name="connsiteX27" fmla="*/ 143627 w 158948"/>
                <a:gd name="connsiteY27" fmla="*/ 106291 h 172875"/>
                <a:gd name="connsiteX28" fmla="*/ 40338 w 158948"/>
                <a:gd name="connsiteY28" fmla="*/ 45204 h 172875"/>
                <a:gd name="connsiteX29" fmla="*/ 80064 w 158948"/>
                <a:gd name="connsiteY29" fmla="*/ 5498 h 172875"/>
                <a:gd name="connsiteX30" fmla="*/ 119791 w 158948"/>
                <a:gd name="connsiteY30" fmla="*/ 45204 h 172875"/>
                <a:gd name="connsiteX31" fmla="*/ 80064 w 158948"/>
                <a:gd name="connsiteY31" fmla="*/ 84911 h 172875"/>
                <a:gd name="connsiteX32" fmla="*/ 40338 w 158948"/>
                <a:gd name="connsiteY32" fmla="*/ 45204 h 172875"/>
                <a:gd name="connsiteX33" fmla="*/ 54395 w 158948"/>
                <a:gd name="connsiteY33" fmla="*/ 100182 h 172875"/>
                <a:gd name="connsiteX34" fmla="*/ 54395 w 158948"/>
                <a:gd name="connsiteY34" fmla="*/ 100182 h 172875"/>
                <a:gd name="connsiteX35" fmla="*/ 54395 w 158948"/>
                <a:gd name="connsiteY35" fmla="*/ 100182 h 172875"/>
                <a:gd name="connsiteX36" fmla="*/ 55006 w 158948"/>
                <a:gd name="connsiteY36" fmla="*/ 100182 h 172875"/>
                <a:gd name="connsiteX37" fmla="*/ 55617 w 158948"/>
                <a:gd name="connsiteY37" fmla="*/ 99571 h 172875"/>
                <a:gd name="connsiteX38" fmla="*/ 55617 w 158948"/>
                <a:gd name="connsiteY38" fmla="*/ 99571 h 172875"/>
                <a:gd name="connsiteX39" fmla="*/ 62951 w 158948"/>
                <a:gd name="connsiteY39" fmla="*/ 87354 h 172875"/>
                <a:gd name="connsiteX40" fmla="*/ 79453 w 158948"/>
                <a:gd name="connsiteY40" fmla="*/ 90408 h 172875"/>
                <a:gd name="connsiteX41" fmla="*/ 95955 w 158948"/>
                <a:gd name="connsiteY41" fmla="*/ 87354 h 172875"/>
                <a:gd name="connsiteX42" fmla="*/ 103289 w 158948"/>
                <a:gd name="connsiteY42" fmla="*/ 99571 h 172875"/>
                <a:gd name="connsiteX43" fmla="*/ 103289 w 158948"/>
                <a:gd name="connsiteY43" fmla="*/ 99571 h 172875"/>
                <a:gd name="connsiteX44" fmla="*/ 103901 w 158948"/>
                <a:gd name="connsiteY44" fmla="*/ 100182 h 172875"/>
                <a:gd name="connsiteX45" fmla="*/ 104512 w 158948"/>
                <a:gd name="connsiteY45" fmla="*/ 100182 h 172875"/>
                <a:gd name="connsiteX46" fmla="*/ 104512 w 158948"/>
                <a:gd name="connsiteY46" fmla="*/ 100182 h 172875"/>
                <a:gd name="connsiteX47" fmla="*/ 108179 w 158948"/>
                <a:gd name="connsiteY47" fmla="*/ 100793 h 172875"/>
                <a:gd name="connsiteX48" fmla="*/ 79453 w 158948"/>
                <a:gd name="connsiteY48" fmla="*/ 119730 h 172875"/>
                <a:gd name="connsiteX49" fmla="*/ 50728 w 158948"/>
                <a:gd name="connsiteY49" fmla="*/ 101404 h 172875"/>
                <a:gd name="connsiteX50" fmla="*/ 54395 w 158948"/>
                <a:gd name="connsiteY50" fmla="*/ 100182 h 172875"/>
                <a:gd name="connsiteX51" fmla="*/ 146072 w 158948"/>
                <a:gd name="connsiteY51" fmla="*/ 153939 h 172875"/>
                <a:gd name="connsiteX52" fmla="*/ 79453 w 158948"/>
                <a:gd name="connsiteY52" fmla="*/ 167988 h 172875"/>
                <a:gd name="connsiteX53" fmla="*/ 12835 w 158948"/>
                <a:gd name="connsiteY53" fmla="*/ 153939 h 172875"/>
                <a:gd name="connsiteX54" fmla="*/ 5500 w 158948"/>
                <a:gd name="connsiteY54" fmla="*/ 141110 h 172875"/>
                <a:gd name="connsiteX55" fmla="*/ 5500 w 158948"/>
                <a:gd name="connsiteY55" fmla="*/ 133169 h 172875"/>
                <a:gd name="connsiteX56" fmla="*/ 18335 w 158948"/>
                <a:gd name="connsiteY56" fmla="*/ 111789 h 172875"/>
                <a:gd name="connsiteX57" fmla="*/ 35448 w 158948"/>
                <a:gd name="connsiteY57" fmla="*/ 104458 h 172875"/>
                <a:gd name="connsiteX58" fmla="*/ 43394 w 158948"/>
                <a:gd name="connsiteY58" fmla="*/ 102015 h 172875"/>
                <a:gd name="connsiteX59" fmla="*/ 44616 w 158948"/>
                <a:gd name="connsiteY59" fmla="*/ 102015 h 172875"/>
                <a:gd name="connsiteX60" fmla="*/ 78842 w 158948"/>
                <a:gd name="connsiteY60" fmla="*/ 125228 h 172875"/>
                <a:gd name="connsiteX61" fmla="*/ 113068 w 158948"/>
                <a:gd name="connsiteY61" fmla="*/ 102015 h 172875"/>
                <a:gd name="connsiteX62" fmla="*/ 114291 w 158948"/>
                <a:gd name="connsiteY62" fmla="*/ 102626 h 172875"/>
                <a:gd name="connsiteX63" fmla="*/ 122236 w 158948"/>
                <a:gd name="connsiteY63" fmla="*/ 105069 h 172875"/>
                <a:gd name="connsiteX64" fmla="*/ 139349 w 158948"/>
                <a:gd name="connsiteY64" fmla="*/ 112400 h 172875"/>
                <a:gd name="connsiteX65" fmla="*/ 152184 w 158948"/>
                <a:gd name="connsiteY65" fmla="*/ 133780 h 172875"/>
                <a:gd name="connsiteX66" fmla="*/ 152184 w 158948"/>
                <a:gd name="connsiteY66" fmla="*/ 141721 h 172875"/>
                <a:gd name="connsiteX67" fmla="*/ 146072 w 158948"/>
                <a:gd name="connsiteY67" fmla="*/ 153939 h 172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158948" h="172875">
                  <a:moveTo>
                    <a:pt x="143627" y="106291"/>
                  </a:moveTo>
                  <a:cubicBezTo>
                    <a:pt x="142405" y="105680"/>
                    <a:pt x="141182" y="105069"/>
                    <a:pt x="139960" y="104458"/>
                  </a:cubicBezTo>
                  <a:cubicBezTo>
                    <a:pt x="136904" y="102626"/>
                    <a:pt x="127736" y="99571"/>
                    <a:pt x="127736" y="99571"/>
                  </a:cubicBezTo>
                  <a:lnTo>
                    <a:pt x="127736" y="99571"/>
                  </a:lnTo>
                  <a:cubicBezTo>
                    <a:pt x="126514" y="98961"/>
                    <a:pt x="125903" y="98961"/>
                    <a:pt x="124680" y="98350"/>
                  </a:cubicBezTo>
                  <a:cubicBezTo>
                    <a:pt x="121625" y="97128"/>
                    <a:pt x="119180" y="96517"/>
                    <a:pt x="116735" y="95906"/>
                  </a:cubicBezTo>
                  <a:cubicBezTo>
                    <a:pt x="113679" y="94684"/>
                    <a:pt x="110012" y="94074"/>
                    <a:pt x="106956" y="93463"/>
                  </a:cubicBezTo>
                  <a:cubicBezTo>
                    <a:pt x="104512" y="91019"/>
                    <a:pt x="102678" y="87354"/>
                    <a:pt x="101456" y="83689"/>
                  </a:cubicBezTo>
                  <a:cubicBezTo>
                    <a:pt x="114902" y="75748"/>
                    <a:pt x="124069" y="61698"/>
                    <a:pt x="124069" y="44593"/>
                  </a:cubicBezTo>
                  <a:cubicBezTo>
                    <a:pt x="124069" y="20159"/>
                    <a:pt x="103901" y="0"/>
                    <a:pt x="79453" y="0"/>
                  </a:cubicBezTo>
                  <a:cubicBezTo>
                    <a:pt x="55006" y="0"/>
                    <a:pt x="34837" y="20159"/>
                    <a:pt x="34837" y="44593"/>
                  </a:cubicBezTo>
                  <a:cubicBezTo>
                    <a:pt x="34837" y="61087"/>
                    <a:pt x="44005" y="75748"/>
                    <a:pt x="57451" y="83689"/>
                  </a:cubicBezTo>
                  <a:cubicBezTo>
                    <a:pt x="56229" y="87354"/>
                    <a:pt x="54395" y="91019"/>
                    <a:pt x="51950" y="94074"/>
                  </a:cubicBezTo>
                  <a:cubicBezTo>
                    <a:pt x="45838" y="95295"/>
                    <a:pt x="42171" y="95906"/>
                    <a:pt x="42171" y="95906"/>
                  </a:cubicBezTo>
                  <a:cubicBezTo>
                    <a:pt x="39727" y="96517"/>
                    <a:pt x="37282" y="97128"/>
                    <a:pt x="34226" y="98350"/>
                  </a:cubicBezTo>
                  <a:cubicBezTo>
                    <a:pt x="32392" y="98961"/>
                    <a:pt x="30559" y="99571"/>
                    <a:pt x="28726" y="100182"/>
                  </a:cubicBezTo>
                  <a:cubicBezTo>
                    <a:pt x="28726" y="100182"/>
                    <a:pt x="28726" y="100182"/>
                    <a:pt x="28726" y="100182"/>
                  </a:cubicBezTo>
                  <a:cubicBezTo>
                    <a:pt x="26892" y="100793"/>
                    <a:pt x="25058" y="102015"/>
                    <a:pt x="23225" y="102626"/>
                  </a:cubicBezTo>
                  <a:cubicBezTo>
                    <a:pt x="23225" y="102626"/>
                    <a:pt x="23225" y="102626"/>
                    <a:pt x="23225" y="102626"/>
                  </a:cubicBezTo>
                  <a:cubicBezTo>
                    <a:pt x="20780" y="103847"/>
                    <a:pt x="18335" y="105069"/>
                    <a:pt x="15891" y="106291"/>
                  </a:cubicBezTo>
                  <a:cubicBezTo>
                    <a:pt x="6112" y="111178"/>
                    <a:pt x="0" y="121563"/>
                    <a:pt x="0" y="132558"/>
                  </a:cubicBezTo>
                  <a:lnTo>
                    <a:pt x="0" y="140499"/>
                  </a:lnTo>
                  <a:cubicBezTo>
                    <a:pt x="0" y="147830"/>
                    <a:pt x="4278" y="154549"/>
                    <a:pt x="10390" y="158215"/>
                  </a:cubicBezTo>
                  <a:cubicBezTo>
                    <a:pt x="22614" y="164934"/>
                    <a:pt x="45227" y="172875"/>
                    <a:pt x="79453" y="172875"/>
                  </a:cubicBezTo>
                  <a:cubicBezTo>
                    <a:pt x="113679" y="172875"/>
                    <a:pt x="136293" y="164934"/>
                    <a:pt x="148517" y="158215"/>
                  </a:cubicBezTo>
                  <a:cubicBezTo>
                    <a:pt x="155239" y="154549"/>
                    <a:pt x="158907" y="147830"/>
                    <a:pt x="158907" y="140499"/>
                  </a:cubicBezTo>
                  <a:lnTo>
                    <a:pt x="158907" y="132558"/>
                  </a:lnTo>
                  <a:cubicBezTo>
                    <a:pt x="159518" y="121563"/>
                    <a:pt x="153406" y="111789"/>
                    <a:pt x="143627" y="106291"/>
                  </a:cubicBezTo>
                  <a:close/>
                  <a:moveTo>
                    <a:pt x="40338" y="45204"/>
                  </a:moveTo>
                  <a:cubicBezTo>
                    <a:pt x="40338" y="23213"/>
                    <a:pt x="58062" y="5498"/>
                    <a:pt x="80064" y="5498"/>
                  </a:cubicBezTo>
                  <a:cubicBezTo>
                    <a:pt x="102067" y="5498"/>
                    <a:pt x="119791" y="23213"/>
                    <a:pt x="119791" y="45204"/>
                  </a:cubicBezTo>
                  <a:cubicBezTo>
                    <a:pt x="119791" y="67195"/>
                    <a:pt x="102067" y="84911"/>
                    <a:pt x="80064" y="84911"/>
                  </a:cubicBezTo>
                  <a:cubicBezTo>
                    <a:pt x="58062" y="84911"/>
                    <a:pt x="40338" y="67195"/>
                    <a:pt x="40338" y="45204"/>
                  </a:cubicBezTo>
                  <a:close/>
                  <a:moveTo>
                    <a:pt x="54395" y="100182"/>
                  </a:moveTo>
                  <a:lnTo>
                    <a:pt x="54395" y="100182"/>
                  </a:lnTo>
                  <a:cubicBezTo>
                    <a:pt x="55006" y="100182"/>
                    <a:pt x="55006" y="100182"/>
                    <a:pt x="54395" y="100182"/>
                  </a:cubicBezTo>
                  <a:cubicBezTo>
                    <a:pt x="55006" y="100182"/>
                    <a:pt x="55006" y="100182"/>
                    <a:pt x="55006" y="100182"/>
                  </a:cubicBezTo>
                  <a:lnTo>
                    <a:pt x="55617" y="99571"/>
                  </a:lnTo>
                  <a:cubicBezTo>
                    <a:pt x="55617" y="99571"/>
                    <a:pt x="55617" y="99571"/>
                    <a:pt x="55617" y="99571"/>
                  </a:cubicBezTo>
                  <a:cubicBezTo>
                    <a:pt x="59285" y="95906"/>
                    <a:pt x="61729" y="91630"/>
                    <a:pt x="62951" y="87354"/>
                  </a:cubicBezTo>
                  <a:cubicBezTo>
                    <a:pt x="67841" y="89187"/>
                    <a:pt x="73342" y="90408"/>
                    <a:pt x="79453" y="90408"/>
                  </a:cubicBezTo>
                  <a:cubicBezTo>
                    <a:pt x="85565" y="90408"/>
                    <a:pt x="91066" y="89187"/>
                    <a:pt x="95955" y="87354"/>
                  </a:cubicBezTo>
                  <a:cubicBezTo>
                    <a:pt x="97177" y="91630"/>
                    <a:pt x="99622" y="95906"/>
                    <a:pt x="103289" y="99571"/>
                  </a:cubicBezTo>
                  <a:cubicBezTo>
                    <a:pt x="103289" y="99571"/>
                    <a:pt x="103289" y="99571"/>
                    <a:pt x="103289" y="99571"/>
                  </a:cubicBezTo>
                  <a:cubicBezTo>
                    <a:pt x="103289" y="99571"/>
                    <a:pt x="103901" y="99571"/>
                    <a:pt x="103901" y="100182"/>
                  </a:cubicBezTo>
                  <a:cubicBezTo>
                    <a:pt x="103901" y="100182"/>
                    <a:pt x="104512" y="100182"/>
                    <a:pt x="104512" y="100182"/>
                  </a:cubicBezTo>
                  <a:cubicBezTo>
                    <a:pt x="104512" y="100182"/>
                    <a:pt x="104512" y="100182"/>
                    <a:pt x="104512" y="100182"/>
                  </a:cubicBezTo>
                  <a:cubicBezTo>
                    <a:pt x="105734" y="100182"/>
                    <a:pt x="106956" y="100793"/>
                    <a:pt x="108179" y="100793"/>
                  </a:cubicBezTo>
                  <a:cubicBezTo>
                    <a:pt x="106956" y="111178"/>
                    <a:pt x="94733" y="119730"/>
                    <a:pt x="79453" y="119730"/>
                  </a:cubicBezTo>
                  <a:cubicBezTo>
                    <a:pt x="64174" y="119730"/>
                    <a:pt x="52561" y="111789"/>
                    <a:pt x="50728" y="101404"/>
                  </a:cubicBezTo>
                  <a:cubicBezTo>
                    <a:pt x="51950" y="100182"/>
                    <a:pt x="53173" y="100182"/>
                    <a:pt x="54395" y="100182"/>
                  </a:cubicBezTo>
                  <a:close/>
                  <a:moveTo>
                    <a:pt x="146072" y="153939"/>
                  </a:moveTo>
                  <a:cubicBezTo>
                    <a:pt x="136293" y="159436"/>
                    <a:pt x="114902" y="167988"/>
                    <a:pt x="79453" y="167988"/>
                  </a:cubicBezTo>
                  <a:cubicBezTo>
                    <a:pt x="44616" y="167988"/>
                    <a:pt x="22614" y="159436"/>
                    <a:pt x="12835" y="153939"/>
                  </a:cubicBezTo>
                  <a:cubicBezTo>
                    <a:pt x="8556" y="151495"/>
                    <a:pt x="5500" y="146608"/>
                    <a:pt x="5500" y="141110"/>
                  </a:cubicBezTo>
                  <a:lnTo>
                    <a:pt x="5500" y="133169"/>
                  </a:lnTo>
                  <a:cubicBezTo>
                    <a:pt x="5500" y="124006"/>
                    <a:pt x="10390" y="116065"/>
                    <a:pt x="18335" y="111789"/>
                  </a:cubicBezTo>
                  <a:cubicBezTo>
                    <a:pt x="23836" y="108734"/>
                    <a:pt x="29948" y="106291"/>
                    <a:pt x="35448" y="104458"/>
                  </a:cubicBezTo>
                  <a:cubicBezTo>
                    <a:pt x="38504" y="103237"/>
                    <a:pt x="40949" y="102626"/>
                    <a:pt x="43394" y="102015"/>
                  </a:cubicBezTo>
                  <a:lnTo>
                    <a:pt x="44616" y="102015"/>
                  </a:lnTo>
                  <a:cubicBezTo>
                    <a:pt x="47061" y="114843"/>
                    <a:pt x="61729" y="125228"/>
                    <a:pt x="78842" y="125228"/>
                  </a:cubicBezTo>
                  <a:cubicBezTo>
                    <a:pt x="95955" y="125228"/>
                    <a:pt x="110623" y="114843"/>
                    <a:pt x="113068" y="102015"/>
                  </a:cubicBezTo>
                  <a:cubicBezTo>
                    <a:pt x="113679" y="102015"/>
                    <a:pt x="113679" y="102015"/>
                    <a:pt x="114291" y="102626"/>
                  </a:cubicBezTo>
                  <a:cubicBezTo>
                    <a:pt x="116735" y="103237"/>
                    <a:pt x="119180" y="103847"/>
                    <a:pt x="122236" y="105069"/>
                  </a:cubicBezTo>
                  <a:cubicBezTo>
                    <a:pt x="128348" y="106902"/>
                    <a:pt x="133848" y="109345"/>
                    <a:pt x="139349" y="112400"/>
                  </a:cubicBezTo>
                  <a:cubicBezTo>
                    <a:pt x="147294" y="116676"/>
                    <a:pt x="152184" y="124617"/>
                    <a:pt x="152184" y="133780"/>
                  </a:cubicBezTo>
                  <a:lnTo>
                    <a:pt x="152184" y="141721"/>
                  </a:lnTo>
                  <a:cubicBezTo>
                    <a:pt x="153406" y="146608"/>
                    <a:pt x="150962" y="150884"/>
                    <a:pt x="146072" y="153939"/>
                  </a:cubicBezTo>
                  <a:close/>
                </a:path>
              </a:pathLst>
            </a:custGeom>
            <a:solidFill>
              <a:srgbClr val="2473B9"/>
            </a:solidFill>
            <a:ln w="61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</p:grpSp>
      <p:grpSp>
        <p:nvGrpSpPr>
          <p:cNvPr id="65" name="Group 64">
            <a:extLst>
              <a:ext uri="{FF2B5EF4-FFF2-40B4-BE49-F238E27FC236}">
                <a16:creationId xmlns:a16="http://schemas.microsoft.com/office/drawing/2014/main" id="{594C6643-6BBC-5949-8EF3-0DD1737934CC}"/>
              </a:ext>
            </a:extLst>
          </p:cNvPr>
          <p:cNvGrpSpPr/>
          <p:nvPr/>
        </p:nvGrpSpPr>
        <p:grpSpPr>
          <a:xfrm>
            <a:off x="8542655" y="4596237"/>
            <a:ext cx="853440" cy="853440"/>
            <a:chOff x="4243624" y="656353"/>
            <a:chExt cx="640080" cy="640080"/>
          </a:xfrm>
        </p:grpSpPr>
        <p:sp>
          <p:nvSpPr>
            <p:cNvPr id="66" name="Oval 65">
              <a:extLst>
                <a:ext uri="{FF2B5EF4-FFF2-40B4-BE49-F238E27FC236}">
                  <a16:creationId xmlns:a16="http://schemas.microsoft.com/office/drawing/2014/main" id="{EB44A684-4ABA-2845-8DAC-B16711E176E3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243624" y="656353"/>
              <a:ext cx="640080" cy="64008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67" name="Graphic 11">
              <a:extLst>
                <a:ext uri="{FF2B5EF4-FFF2-40B4-BE49-F238E27FC236}">
                  <a16:creationId xmlns:a16="http://schemas.microsoft.com/office/drawing/2014/main" id="{42CCB901-D147-384D-8391-E9C9E99623EE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378703" y="775225"/>
              <a:ext cx="369923" cy="402336"/>
            </a:xfrm>
            <a:custGeom>
              <a:avLst/>
              <a:gdLst>
                <a:gd name="connsiteX0" fmla="*/ 143627 w 158948"/>
                <a:gd name="connsiteY0" fmla="*/ 106291 h 172875"/>
                <a:gd name="connsiteX1" fmla="*/ 139960 w 158948"/>
                <a:gd name="connsiteY1" fmla="*/ 104458 h 172875"/>
                <a:gd name="connsiteX2" fmla="*/ 127736 w 158948"/>
                <a:gd name="connsiteY2" fmla="*/ 99571 h 172875"/>
                <a:gd name="connsiteX3" fmla="*/ 127736 w 158948"/>
                <a:gd name="connsiteY3" fmla="*/ 99571 h 172875"/>
                <a:gd name="connsiteX4" fmla="*/ 124680 w 158948"/>
                <a:gd name="connsiteY4" fmla="*/ 98350 h 172875"/>
                <a:gd name="connsiteX5" fmla="*/ 116735 w 158948"/>
                <a:gd name="connsiteY5" fmla="*/ 95906 h 172875"/>
                <a:gd name="connsiteX6" fmla="*/ 106956 w 158948"/>
                <a:gd name="connsiteY6" fmla="*/ 93463 h 172875"/>
                <a:gd name="connsiteX7" fmla="*/ 101456 w 158948"/>
                <a:gd name="connsiteY7" fmla="*/ 83689 h 172875"/>
                <a:gd name="connsiteX8" fmla="*/ 124069 w 158948"/>
                <a:gd name="connsiteY8" fmla="*/ 44593 h 172875"/>
                <a:gd name="connsiteX9" fmla="*/ 79453 w 158948"/>
                <a:gd name="connsiteY9" fmla="*/ 0 h 172875"/>
                <a:gd name="connsiteX10" fmla="*/ 34837 w 158948"/>
                <a:gd name="connsiteY10" fmla="*/ 44593 h 172875"/>
                <a:gd name="connsiteX11" fmla="*/ 57451 w 158948"/>
                <a:gd name="connsiteY11" fmla="*/ 83689 h 172875"/>
                <a:gd name="connsiteX12" fmla="*/ 51950 w 158948"/>
                <a:gd name="connsiteY12" fmla="*/ 94074 h 172875"/>
                <a:gd name="connsiteX13" fmla="*/ 42171 w 158948"/>
                <a:gd name="connsiteY13" fmla="*/ 95906 h 172875"/>
                <a:gd name="connsiteX14" fmla="*/ 34226 w 158948"/>
                <a:gd name="connsiteY14" fmla="*/ 98350 h 172875"/>
                <a:gd name="connsiteX15" fmla="*/ 28726 w 158948"/>
                <a:gd name="connsiteY15" fmla="*/ 100182 h 172875"/>
                <a:gd name="connsiteX16" fmla="*/ 28726 w 158948"/>
                <a:gd name="connsiteY16" fmla="*/ 100182 h 172875"/>
                <a:gd name="connsiteX17" fmla="*/ 23225 w 158948"/>
                <a:gd name="connsiteY17" fmla="*/ 102626 h 172875"/>
                <a:gd name="connsiteX18" fmla="*/ 23225 w 158948"/>
                <a:gd name="connsiteY18" fmla="*/ 102626 h 172875"/>
                <a:gd name="connsiteX19" fmla="*/ 15891 w 158948"/>
                <a:gd name="connsiteY19" fmla="*/ 106291 h 172875"/>
                <a:gd name="connsiteX20" fmla="*/ 0 w 158948"/>
                <a:gd name="connsiteY20" fmla="*/ 132558 h 172875"/>
                <a:gd name="connsiteX21" fmla="*/ 0 w 158948"/>
                <a:gd name="connsiteY21" fmla="*/ 140499 h 172875"/>
                <a:gd name="connsiteX22" fmla="*/ 10390 w 158948"/>
                <a:gd name="connsiteY22" fmla="*/ 158215 h 172875"/>
                <a:gd name="connsiteX23" fmla="*/ 79453 w 158948"/>
                <a:gd name="connsiteY23" fmla="*/ 172875 h 172875"/>
                <a:gd name="connsiteX24" fmla="*/ 148517 w 158948"/>
                <a:gd name="connsiteY24" fmla="*/ 158215 h 172875"/>
                <a:gd name="connsiteX25" fmla="*/ 158907 w 158948"/>
                <a:gd name="connsiteY25" fmla="*/ 140499 h 172875"/>
                <a:gd name="connsiteX26" fmla="*/ 158907 w 158948"/>
                <a:gd name="connsiteY26" fmla="*/ 132558 h 172875"/>
                <a:gd name="connsiteX27" fmla="*/ 143627 w 158948"/>
                <a:gd name="connsiteY27" fmla="*/ 106291 h 172875"/>
                <a:gd name="connsiteX28" fmla="*/ 40338 w 158948"/>
                <a:gd name="connsiteY28" fmla="*/ 45204 h 172875"/>
                <a:gd name="connsiteX29" fmla="*/ 80064 w 158948"/>
                <a:gd name="connsiteY29" fmla="*/ 5498 h 172875"/>
                <a:gd name="connsiteX30" fmla="*/ 119791 w 158948"/>
                <a:gd name="connsiteY30" fmla="*/ 45204 h 172875"/>
                <a:gd name="connsiteX31" fmla="*/ 80064 w 158948"/>
                <a:gd name="connsiteY31" fmla="*/ 84911 h 172875"/>
                <a:gd name="connsiteX32" fmla="*/ 40338 w 158948"/>
                <a:gd name="connsiteY32" fmla="*/ 45204 h 172875"/>
                <a:gd name="connsiteX33" fmla="*/ 54395 w 158948"/>
                <a:gd name="connsiteY33" fmla="*/ 100182 h 172875"/>
                <a:gd name="connsiteX34" fmla="*/ 54395 w 158948"/>
                <a:gd name="connsiteY34" fmla="*/ 100182 h 172875"/>
                <a:gd name="connsiteX35" fmla="*/ 54395 w 158948"/>
                <a:gd name="connsiteY35" fmla="*/ 100182 h 172875"/>
                <a:gd name="connsiteX36" fmla="*/ 55006 w 158948"/>
                <a:gd name="connsiteY36" fmla="*/ 100182 h 172875"/>
                <a:gd name="connsiteX37" fmla="*/ 55617 w 158948"/>
                <a:gd name="connsiteY37" fmla="*/ 99571 h 172875"/>
                <a:gd name="connsiteX38" fmla="*/ 55617 w 158948"/>
                <a:gd name="connsiteY38" fmla="*/ 99571 h 172875"/>
                <a:gd name="connsiteX39" fmla="*/ 62951 w 158948"/>
                <a:gd name="connsiteY39" fmla="*/ 87354 h 172875"/>
                <a:gd name="connsiteX40" fmla="*/ 79453 w 158948"/>
                <a:gd name="connsiteY40" fmla="*/ 90408 h 172875"/>
                <a:gd name="connsiteX41" fmla="*/ 95955 w 158948"/>
                <a:gd name="connsiteY41" fmla="*/ 87354 h 172875"/>
                <a:gd name="connsiteX42" fmla="*/ 103289 w 158948"/>
                <a:gd name="connsiteY42" fmla="*/ 99571 h 172875"/>
                <a:gd name="connsiteX43" fmla="*/ 103289 w 158948"/>
                <a:gd name="connsiteY43" fmla="*/ 99571 h 172875"/>
                <a:gd name="connsiteX44" fmla="*/ 103901 w 158948"/>
                <a:gd name="connsiteY44" fmla="*/ 100182 h 172875"/>
                <a:gd name="connsiteX45" fmla="*/ 104512 w 158948"/>
                <a:gd name="connsiteY45" fmla="*/ 100182 h 172875"/>
                <a:gd name="connsiteX46" fmla="*/ 104512 w 158948"/>
                <a:gd name="connsiteY46" fmla="*/ 100182 h 172875"/>
                <a:gd name="connsiteX47" fmla="*/ 108179 w 158948"/>
                <a:gd name="connsiteY47" fmla="*/ 100793 h 172875"/>
                <a:gd name="connsiteX48" fmla="*/ 79453 w 158948"/>
                <a:gd name="connsiteY48" fmla="*/ 119730 h 172875"/>
                <a:gd name="connsiteX49" fmla="*/ 50728 w 158948"/>
                <a:gd name="connsiteY49" fmla="*/ 101404 h 172875"/>
                <a:gd name="connsiteX50" fmla="*/ 54395 w 158948"/>
                <a:gd name="connsiteY50" fmla="*/ 100182 h 172875"/>
                <a:gd name="connsiteX51" fmla="*/ 146072 w 158948"/>
                <a:gd name="connsiteY51" fmla="*/ 153939 h 172875"/>
                <a:gd name="connsiteX52" fmla="*/ 79453 w 158948"/>
                <a:gd name="connsiteY52" fmla="*/ 167988 h 172875"/>
                <a:gd name="connsiteX53" fmla="*/ 12835 w 158948"/>
                <a:gd name="connsiteY53" fmla="*/ 153939 h 172875"/>
                <a:gd name="connsiteX54" fmla="*/ 5500 w 158948"/>
                <a:gd name="connsiteY54" fmla="*/ 141110 h 172875"/>
                <a:gd name="connsiteX55" fmla="*/ 5500 w 158948"/>
                <a:gd name="connsiteY55" fmla="*/ 133169 h 172875"/>
                <a:gd name="connsiteX56" fmla="*/ 18335 w 158948"/>
                <a:gd name="connsiteY56" fmla="*/ 111789 h 172875"/>
                <a:gd name="connsiteX57" fmla="*/ 35448 w 158948"/>
                <a:gd name="connsiteY57" fmla="*/ 104458 h 172875"/>
                <a:gd name="connsiteX58" fmla="*/ 43394 w 158948"/>
                <a:gd name="connsiteY58" fmla="*/ 102015 h 172875"/>
                <a:gd name="connsiteX59" fmla="*/ 44616 w 158948"/>
                <a:gd name="connsiteY59" fmla="*/ 102015 h 172875"/>
                <a:gd name="connsiteX60" fmla="*/ 78842 w 158948"/>
                <a:gd name="connsiteY60" fmla="*/ 125228 h 172875"/>
                <a:gd name="connsiteX61" fmla="*/ 113068 w 158948"/>
                <a:gd name="connsiteY61" fmla="*/ 102015 h 172875"/>
                <a:gd name="connsiteX62" fmla="*/ 114291 w 158948"/>
                <a:gd name="connsiteY62" fmla="*/ 102626 h 172875"/>
                <a:gd name="connsiteX63" fmla="*/ 122236 w 158948"/>
                <a:gd name="connsiteY63" fmla="*/ 105069 h 172875"/>
                <a:gd name="connsiteX64" fmla="*/ 139349 w 158948"/>
                <a:gd name="connsiteY64" fmla="*/ 112400 h 172875"/>
                <a:gd name="connsiteX65" fmla="*/ 152184 w 158948"/>
                <a:gd name="connsiteY65" fmla="*/ 133780 h 172875"/>
                <a:gd name="connsiteX66" fmla="*/ 152184 w 158948"/>
                <a:gd name="connsiteY66" fmla="*/ 141721 h 172875"/>
                <a:gd name="connsiteX67" fmla="*/ 146072 w 158948"/>
                <a:gd name="connsiteY67" fmla="*/ 153939 h 172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158948" h="172875">
                  <a:moveTo>
                    <a:pt x="143627" y="106291"/>
                  </a:moveTo>
                  <a:cubicBezTo>
                    <a:pt x="142405" y="105680"/>
                    <a:pt x="141182" y="105069"/>
                    <a:pt x="139960" y="104458"/>
                  </a:cubicBezTo>
                  <a:cubicBezTo>
                    <a:pt x="136904" y="102626"/>
                    <a:pt x="127736" y="99571"/>
                    <a:pt x="127736" y="99571"/>
                  </a:cubicBezTo>
                  <a:lnTo>
                    <a:pt x="127736" y="99571"/>
                  </a:lnTo>
                  <a:cubicBezTo>
                    <a:pt x="126514" y="98961"/>
                    <a:pt x="125903" y="98961"/>
                    <a:pt x="124680" y="98350"/>
                  </a:cubicBezTo>
                  <a:cubicBezTo>
                    <a:pt x="121625" y="97128"/>
                    <a:pt x="119180" y="96517"/>
                    <a:pt x="116735" y="95906"/>
                  </a:cubicBezTo>
                  <a:cubicBezTo>
                    <a:pt x="113679" y="94684"/>
                    <a:pt x="110012" y="94074"/>
                    <a:pt x="106956" y="93463"/>
                  </a:cubicBezTo>
                  <a:cubicBezTo>
                    <a:pt x="104512" y="91019"/>
                    <a:pt x="102678" y="87354"/>
                    <a:pt x="101456" y="83689"/>
                  </a:cubicBezTo>
                  <a:cubicBezTo>
                    <a:pt x="114902" y="75748"/>
                    <a:pt x="124069" y="61698"/>
                    <a:pt x="124069" y="44593"/>
                  </a:cubicBezTo>
                  <a:cubicBezTo>
                    <a:pt x="124069" y="20159"/>
                    <a:pt x="103901" y="0"/>
                    <a:pt x="79453" y="0"/>
                  </a:cubicBezTo>
                  <a:cubicBezTo>
                    <a:pt x="55006" y="0"/>
                    <a:pt x="34837" y="20159"/>
                    <a:pt x="34837" y="44593"/>
                  </a:cubicBezTo>
                  <a:cubicBezTo>
                    <a:pt x="34837" y="61087"/>
                    <a:pt x="44005" y="75748"/>
                    <a:pt x="57451" y="83689"/>
                  </a:cubicBezTo>
                  <a:cubicBezTo>
                    <a:pt x="56229" y="87354"/>
                    <a:pt x="54395" y="91019"/>
                    <a:pt x="51950" y="94074"/>
                  </a:cubicBezTo>
                  <a:cubicBezTo>
                    <a:pt x="45838" y="95295"/>
                    <a:pt x="42171" y="95906"/>
                    <a:pt x="42171" y="95906"/>
                  </a:cubicBezTo>
                  <a:cubicBezTo>
                    <a:pt x="39727" y="96517"/>
                    <a:pt x="37282" y="97128"/>
                    <a:pt x="34226" y="98350"/>
                  </a:cubicBezTo>
                  <a:cubicBezTo>
                    <a:pt x="32392" y="98961"/>
                    <a:pt x="30559" y="99571"/>
                    <a:pt x="28726" y="100182"/>
                  </a:cubicBezTo>
                  <a:cubicBezTo>
                    <a:pt x="28726" y="100182"/>
                    <a:pt x="28726" y="100182"/>
                    <a:pt x="28726" y="100182"/>
                  </a:cubicBezTo>
                  <a:cubicBezTo>
                    <a:pt x="26892" y="100793"/>
                    <a:pt x="25058" y="102015"/>
                    <a:pt x="23225" y="102626"/>
                  </a:cubicBezTo>
                  <a:cubicBezTo>
                    <a:pt x="23225" y="102626"/>
                    <a:pt x="23225" y="102626"/>
                    <a:pt x="23225" y="102626"/>
                  </a:cubicBezTo>
                  <a:cubicBezTo>
                    <a:pt x="20780" y="103847"/>
                    <a:pt x="18335" y="105069"/>
                    <a:pt x="15891" y="106291"/>
                  </a:cubicBezTo>
                  <a:cubicBezTo>
                    <a:pt x="6112" y="111178"/>
                    <a:pt x="0" y="121563"/>
                    <a:pt x="0" y="132558"/>
                  </a:cubicBezTo>
                  <a:lnTo>
                    <a:pt x="0" y="140499"/>
                  </a:lnTo>
                  <a:cubicBezTo>
                    <a:pt x="0" y="147830"/>
                    <a:pt x="4278" y="154549"/>
                    <a:pt x="10390" y="158215"/>
                  </a:cubicBezTo>
                  <a:cubicBezTo>
                    <a:pt x="22614" y="164934"/>
                    <a:pt x="45227" y="172875"/>
                    <a:pt x="79453" y="172875"/>
                  </a:cubicBezTo>
                  <a:cubicBezTo>
                    <a:pt x="113679" y="172875"/>
                    <a:pt x="136293" y="164934"/>
                    <a:pt x="148517" y="158215"/>
                  </a:cubicBezTo>
                  <a:cubicBezTo>
                    <a:pt x="155239" y="154549"/>
                    <a:pt x="158907" y="147830"/>
                    <a:pt x="158907" y="140499"/>
                  </a:cubicBezTo>
                  <a:lnTo>
                    <a:pt x="158907" y="132558"/>
                  </a:lnTo>
                  <a:cubicBezTo>
                    <a:pt x="159518" y="121563"/>
                    <a:pt x="153406" y="111789"/>
                    <a:pt x="143627" y="106291"/>
                  </a:cubicBezTo>
                  <a:close/>
                  <a:moveTo>
                    <a:pt x="40338" y="45204"/>
                  </a:moveTo>
                  <a:cubicBezTo>
                    <a:pt x="40338" y="23213"/>
                    <a:pt x="58062" y="5498"/>
                    <a:pt x="80064" y="5498"/>
                  </a:cubicBezTo>
                  <a:cubicBezTo>
                    <a:pt x="102067" y="5498"/>
                    <a:pt x="119791" y="23213"/>
                    <a:pt x="119791" y="45204"/>
                  </a:cubicBezTo>
                  <a:cubicBezTo>
                    <a:pt x="119791" y="67195"/>
                    <a:pt x="102067" y="84911"/>
                    <a:pt x="80064" y="84911"/>
                  </a:cubicBezTo>
                  <a:cubicBezTo>
                    <a:pt x="58062" y="84911"/>
                    <a:pt x="40338" y="67195"/>
                    <a:pt x="40338" y="45204"/>
                  </a:cubicBezTo>
                  <a:close/>
                  <a:moveTo>
                    <a:pt x="54395" y="100182"/>
                  </a:moveTo>
                  <a:lnTo>
                    <a:pt x="54395" y="100182"/>
                  </a:lnTo>
                  <a:cubicBezTo>
                    <a:pt x="55006" y="100182"/>
                    <a:pt x="55006" y="100182"/>
                    <a:pt x="54395" y="100182"/>
                  </a:cubicBezTo>
                  <a:cubicBezTo>
                    <a:pt x="55006" y="100182"/>
                    <a:pt x="55006" y="100182"/>
                    <a:pt x="55006" y="100182"/>
                  </a:cubicBezTo>
                  <a:lnTo>
                    <a:pt x="55617" y="99571"/>
                  </a:lnTo>
                  <a:cubicBezTo>
                    <a:pt x="55617" y="99571"/>
                    <a:pt x="55617" y="99571"/>
                    <a:pt x="55617" y="99571"/>
                  </a:cubicBezTo>
                  <a:cubicBezTo>
                    <a:pt x="59285" y="95906"/>
                    <a:pt x="61729" y="91630"/>
                    <a:pt x="62951" y="87354"/>
                  </a:cubicBezTo>
                  <a:cubicBezTo>
                    <a:pt x="67841" y="89187"/>
                    <a:pt x="73342" y="90408"/>
                    <a:pt x="79453" y="90408"/>
                  </a:cubicBezTo>
                  <a:cubicBezTo>
                    <a:pt x="85565" y="90408"/>
                    <a:pt x="91066" y="89187"/>
                    <a:pt x="95955" y="87354"/>
                  </a:cubicBezTo>
                  <a:cubicBezTo>
                    <a:pt x="97177" y="91630"/>
                    <a:pt x="99622" y="95906"/>
                    <a:pt x="103289" y="99571"/>
                  </a:cubicBezTo>
                  <a:cubicBezTo>
                    <a:pt x="103289" y="99571"/>
                    <a:pt x="103289" y="99571"/>
                    <a:pt x="103289" y="99571"/>
                  </a:cubicBezTo>
                  <a:cubicBezTo>
                    <a:pt x="103289" y="99571"/>
                    <a:pt x="103901" y="99571"/>
                    <a:pt x="103901" y="100182"/>
                  </a:cubicBezTo>
                  <a:cubicBezTo>
                    <a:pt x="103901" y="100182"/>
                    <a:pt x="104512" y="100182"/>
                    <a:pt x="104512" y="100182"/>
                  </a:cubicBezTo>
                  <a:cubicBezTo>
                    <a:pt x="104512" y="100182"/>
                    <a:pt x="104512" y="100182"/>
                    <a:pt x="104512" y="100182"/>
                  </a:cubicBezTo>
                  <a:cubicBezTo>
                    <a:pt x="105734" y="100182"/>
                    <a:pt x="106956" y="100793"/>
                    <a:pt x="108179" y="100793"/>
                  </a:cubicBezTo>
                  <a:cubicBezTo>
                    <a:pt x="106956" y="111178"/>
                    <a:pt x="94733" y="119730"/>
                    <a:pt x="79453" y="119730"/>
                  </a:cubicBezTo>
                  <a:cubicBezTo>
                    <a:pt x="64174" y="119730"/>
                    <a:pt x="52561" y="111789"/>
                    <a:pt x="50728" y="101404"/>
                  </a:cubicBezTo>
                  <a:cubicBezTo>
                    <a:pt x="51950" y="100182"/>
                    <a:pt x="53173" y="100182"/>
                    <a:pt x="54395" y="100182"/>
                  </a:cubicBezTo>
                  <a:close/>
                  <a:moveTo>
                    <a:pt x="146072" y="153939"/>
                  </a:moveTo>
                  <a:cubicBezTo>
                    <a:pt x="136293" y="159436"/>
                    <a:pt x="114902" y="167988"/>
                    <a:pt x="79453" y="167988"/>
                  </a:cubicBezTo>
                  <a:cubicBezTo>
                    <a:pt x="44616" y="167988"/>
                    <a:pt x="22614" y="159436"/>
                    <a:pt x="12835" y="153939"/>
                  </a:cubicBezTo>
                  <a:cubicBezTo>
                    <a:pt x="8556" y="151495"/>
                    <a:pt x="5500" y="146608"/>
                    <a:pt x="5500" y="141110"/>
                  </a:cubicBezTo>
                  <a:lnTo>
                    <a:pt x="5500" y="133169"/>
                  </a:lnTo>
                  <a:cubicBezTo>
                    <a:pt x="5500" y="124006"/>
                    <a:pt x="10390" y="116065"/>
                    <a:pt x="18335" y="111789"/>
                  </a:cubicBezTo>
                  <a:cubicBezTo>
                    <a:pt x="23836" y="108734"/>
                    <a:pt x="29948" y="106291"/>
                    <a:pt x="35448" y="104458"/>
                  </a:cubicBezTo>
                  <a:cubicBezTo>
                    <a:pt x="38504" y="103237"/>
                    <a:pt x="40949" y="102626"/>
                    <a:pt x="43394" y="102015"/>
                  </a:cubicBezTo>
                  <a:lnTo>
                    <a:pt x="44616" y="102015"/>
                  </a:lnTo>
                  <a:cubicBezTo>
                    <a:pt x="47061" y="114843"/>
                    <a:pt x="61729" y="125228"/>
                    <a:pt x="78842" y="125228"/>
                  </a:cubicBezTo>
                  <a:cubicBezTo>
                    <a:pt x="95955" y="125228"/>
                    <a:pt x="110623" y="114843"/>
                    <a:pt x="113068" y="102015"/>
                  </a:cubicBezTo>
                  <a:cubicBezTo>
                    <a:pt x="113679" y="102015"/>
                    <a:pt x="113679" y="102015"/>
                    <a:pt x="114291" y="102626"/>
                  </a:cubicBezTo>
                  <a:cubicBezTo>
                    <a:pt x="116735" y="103237"/>
                    <a:pt x="119180" y="103847"/>
                    <a:pt x="122236" y="105069"/>
                  </a:cubicBezTo>
                  <a:cubicBezTo>
                    <a:pt x="128348" y="106902"/>
                    <a:pt x="133848" y="109345"/>
                    <a:pt x="139349" y="112400"/>
                  </a:cubicBezTo>
                  <a:cubicBezTo>
                    <a:pt x="147294" y="116676"/>
                    <a:pt x="152184" y="124617"/>
                    <a:pt x="152184" y="133780"/>
                  </a:cubicBezTo>
                  <a:lnTo>
                    <a:pt x="152184" y="141721"/>
                  </a:lnTo>
                  <a:cubicBezTo>
                    <a:pt x="153406" y="146608"/>
                    <a:pt x="150962" y="150884"/>
                    <a:pt x="146072" y="153939"/>
                  </a:cubicBezTo>
                  <a:close/>
                </a:path>
              </a:pathLst>
            </a:custGeom>
            <a:solidFill>
              <a:srgbClr val="2473B9"/>
            </a:solidFill>
            <a:ln w="61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</p:grpSp>
      <p:sp>
        <p:nvSpPr>
          <p:cNvPr id="68" name="Picture Placeholder 67">
            <a:extLst>
              <a:ext uri="{FF2B5EF4-FFF2-40B4-BE49-F238E27FC236}">
                <a16:creationId xmlns:a16="http://schemas.microsoft.com/office/drawing/2014/main" id="{1253EEEA-98F9-F24E-8B3C-831AC642B61D}"/>
              </a:ext>
            </a:extLst>
          </p:cNvPr>
          <p:cNvSpPr>
            <a:spLocks noGrp="1" noChangeAspect="1"/>
          </p:cNvSpPr>
          <p:nvPr>
            <p:ph type="pic" sz="quarter" idx="10" hasCustomPrompt="1"/>
          </p:nvPr>
        </p:nvSpPr>
        <p:spPr>
          <a:xfrm>
            <a:off x="5656580" y="964037"/>
            <a:ext cx="853440" cy="853440"/>
          </a:xfrm>
          <a:prstGeom prst="ellipse">
            <a:avLst/>
          </a:prstGeom>
        </p:spPr>
        <p:txBody>
          <a:bodyPr wrap="none" anchor="ctr" anchorCtr="0"/>
          <a:lstStyle>
            <a:lvl1pPr algn="ctr">
              <a:defRPr sz="1200"/>
            </a:lvl1pPr>
          </a:lstStyle>
          <a:p>
            <a:r>
              <a:rPr lang="en-US"/>
              <a:t>Photo</a:t>
            </a:r>
          </a:p>
        </p:txBody>
      </p:sp>
      <p:sp>
        <p:nvSpPr>
          <p:cNvPr id="69" name="Picture Placeholder 67">
            <a:extLst>
              <a:ext uri="{FF2B5EF4-FFF2-40B4-BE49-F238E27FC236}">
                <a16:creationId xmlns:a16="http://schemas.microsoft.com/office/drawing/2014/main" id="{21B5CDD9-8045-274C-8F62-44946AEECA33}"/>
              </a:ext>
            </a:extLst>
          </p:cNvPr>
          <p:cNvSpPr>
            <a:spLocks noGrp="1" noChangeAspect="1"/>
          </p:cNvSpPr>
          <p:nvPr>
            <p:ph type="pic" sz="quarter" idx="11" hasCustomPrompt="1"/>
          </p:nvPr>
        </p:nvSpPr>
        <p:spPr>
          <a:xfrm>
            <a:off x="846452" y="2767437"/>
            <a:ext cx="853440" cy="853440"/>
          </a:xfrm>
          <a:prstGeom prst="ellipse">
            <a:avLst/>
          </a:prstGeom>
        </p:spPr>
        <p:txBody>
          <a:bodyPr wrap="none" anchor="ctr" anchorCtr="0"/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Photo</a:t>
            </a:r>
          </a:p>
        </p:txBody>
      </p:sp>
      <p:sp>
        <p:nvSpPr>
          <p:cNvPr id="70" name="Picture Placeholder 67">
            <a:extLst>
              <a:ext uri="{FF2B5EF4-FFF2-40B4-BE49-F238E27FC236}">
                <a16:creationId xmlns:a16="http://schemas.microsoft.com/office/drawing/2014/main" id="{FE7A2F59-B470-3446-B582-477764DC3F83}"/>
              </a:ext>
            </a:extLst>
          </p:cNvPr>
          <p:cNvSpPr>
            <a:spLocks noGrp="1" noChangeAspect="1"/>
          </p:cNvSpPr>
          <p:nvPr>
            <p:ph type="pic" sz="quarter" idx="12" hasCustomPrompt="1"/>
          </p:nvPr>
        </p:nvSpPr>
        <p:spPr>
          <a:xfrm>
            <a:off x="2770503" y="2767437"/>
            <a:ext cx="853440" cy="853440"/>
          </a:xfrm>
          <a:prstGeom prst="ellipse">
            <a:avLst/>
          </a:prstGeom>
        </p:spPr>
        <p:txBody>
          <a:bodyPr wrap="none" anchor="ctr" anchorCtr="0"/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Photo</a:t>
            </a:r>
          </a:p>
        </p:txBody>
      </p:sp>
      <p:sp>
        <p:nvSpPr>
          <p:cNvPr id="71" name="Picture Placeholder 67">
            <a:extLst>
              <a:ext uri="{FF2B5EF4-FFF2-40B4-BE49-F238E27FC236}">
                <a16:creationId xmlns:a16="http://schemas.microsoft.com/office/drawing/2014/main" id="{5179DF51-3BD2-EC45-816E-2082313D0DFD}"/>
              </a:ext>
            </a:extLst>
          </p:cNvPr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4719159" y="2767437"/>
            <a:ext cx="853440" cy="853440"/>
          </a:xfrm>
          <a:prstGeom prst="ellipse">
            <a:avLst/>
          </a:prstGeom>
        </p:spPr>
        <p:txBody>
          <a:bodyPr wrap="none" anchor="ctr" anchorCtr="0"/>
          <a:lstStyle>
            <a:lvl1pPr algn="ctr">
              <a:defRPr sz="1200"/>
            </a:lvl1pPr>
          </a:lstStyle>
          <a:p>
            <a:r>
              <a:rPr lang="en-US"/>
              <a:t>Photo</a:t>
            </a:r>
          </a:p>
        </p:txBody>
      </p:sp>
      <p:sp>
        <p:nvSpPr>
          <p:cNvPr id="72" name="Picture Placeholder 67">
            <a:extLst>
              <a:ext uri="{FF2B5EF4-FFF2-40B4-BE49-F238E27FC236}">
                <a16:creationId xmlns:a16="http://schemas.microsoft.com/office/drawing/2014/main" id="{BA521378-3E48-A749-9448-87F4BBDF9F69}"/>
              </a:ext>
            </a:extLst>
          </p:cNvPr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6618604" y="2767437"/>
            <a:ext cx="853440" cy="853440"/>
          </a:xfrm>
          <a:prstGeom prst="ellipse">
            <a:avLst/>
          </a:prstGeom>
        </p:spPr>
        <p:txBody>
          <a:bodyPr wrap="none" anchor="ctr" anchorCtr="0"/>
          <a:lstStyle>
            <a:lvl1pPr algn="ctr">
              <a:defRPr sz="1200"/>
            </a:lvl1pPr>
          </a:lstStyle>
          <a:p>
            <a:r>
              <a:rPr lang="en-US"/>
              <a:t>Photo</a:t>
            </a:r>
          </a:p>
        </p:txBody>
      </p:sp>
      <p:sp>
        <p:nvSpPr>
          <p:cNvPr id="73" name="Picture Placeholder 67">
            <a:extLst>
              <a:ext uri="{FF2B5EF4-FFF2-40B4-BE49-F238E27FC236}">
                <a16:creationId xmlns:a16="http://schemas.microsoft.com/office/drawing/2014/main" id="{03FCD8E7-DDD4-6149-B6EA-E6A08C78DDD8}"/>
              </a:ext>
            </a:extLst>
          </p:cNvPr>
          <p:cNvSpPr>
            <a:spLocks noGrp="1" noChangeAspect="1"/>
          </p:cNvSpPr>
          <p:nvPr>
            <p:ph type="pic" sz="quarter" idx="15" hasCustomPrompt="1"/>
          </p:nvPr>
        </p:nvSpPr>
        <p:spPr>
          <a:xfrm>
            <a:off x="8542655" y="2767437"/>
            <a:ext cx="853440" cy="853440"/>
          </a:xfrm>
          <a:prstGeom prst="ellipse">
            <a:avLst/>
          </a:prstGeom>
        </p:spPr>
        <p:txBody>
          <a:bodyPr wrap="none" anchor="ctr" anchorCtr="0"/>
          <a:lstStyle>
            <a:lvl1pPr algn="ctr">
              <a:defRPr sz="1200"/>
            </a:lvl1pPr>
          </a:lstStyle>
          <a:p>
            <a:r>
              <a:rPr lang="en-US"/>
              <a:t>Photo</a:t>
            </a:r>
          </a:p>
        </p:txBody>
      </p:sp>
      <p:sp>
        <p:nvSpPr>
          <p:cNvPr id="74" name="Picture Placeholder 67">
            <a:extLst>
              <a:ext uri="{FF2B5EF4-FFF2-40B4-BE49-F238E27FC236}">
                <a16:creationId xmlns:a16="http://schemas.microsoft.com/office/drawing/2014/main" id="{A4DF7954-FC0E-B943-872C-2BF92A21AF0D}"/>
              </a:ext>
            </a:extLst>
          </p:cNvPr>
          <p:cNvSpPr>
            <a:spLocks noGrp="1" noChangeAspect="1"/>
          </p:cNvSpPr>
          <p:nvPr>
            <p:ph type="pic" sz="quarter" idx="16" hasCustomPrompt="1"/>
          </p:nvPr>
        </p:nvSpPr>
        <p:spPr>
          <a:xfrm>
            <a:off x="10466708" y="2767437"/>
            <a:ext cx="853440" cy="853440"/>
          </a:xfrm>
          <a:prstGeom prst="ellipse">
            <a:avLst/>
          </a:prstGeom>
        </p:spPr>
        <p:txBody>
          <a:bodyPr wrap="none" anchor="ctr" anchorCtr="0"/>
          <a:lstStyle>
            <a:lvl1pPr algn="ctr">
              <a:defRPr sz="1200"/>
            </a:lvl1pPr>
          </a:lstStyle>
          <a:p>
            <a:r>
              <a:rPr lang="en-US"/>
              <a:t>Photo</a:t>
            </a:r>
          </a:p>
        </p:txBody>
      </p:sp>
      <p:sp>
        <p:nvSpPr>
          <p:cNvPr id="75" name="Picture Placeholder 67">
            <a:extLst>
              <a:ext uri="{FF2B5EF4-FFF2-40B4-BE49-F238E27FC236}">
                <a16:creationId xmlns:a16="http://schemas.microsoft.com/office/drawing/2014/main" id="{0445D38C-F717-4D4A-A975-1F5D122D1E8E}"/>
              </a:ext>
            </a:extLst>
          </p:cNvPr>
          <p:cNvSpPr>
            <a:spLocks noGrp="1" noChangeAspect="1"/>
          </p:cNvSpPr>
          <p:nvPr>
            <p:ph type="pic" sz="quarter" idx="17" hasCustomPrompt="1"/>
          </p:nvPr>
        </p:nvSpPr>
        <p:spPr>
          <a:xfrm>
            <a:off x="846452" y="4596237"/>
            <a:ext cx="853440" cy="853440"/>
          </a:xfrm>
          <a:prstGeom prst="ellipse">
            <a:avLst/>
          </a:prstGeom>
        </p:spPr>
        <p:txBody>
          <a:bodyPr wrap="none" anchor="ctr" anchorCtr="0"/>
          <a:lstStyle>
            <a:lvl1pPr algn="ctr">
              <a:defRPr sz="1200"/>
            </a:lvl1pPr>
          </a:lstStyle>
          <a:p>
            <a:r>
              <a:rPr lang="en-US"/>
              <a:t>Photo</a:t>
            </a:r>
          </a:p>
        </p:txBody>
      </p:sp>
      <p:sp>
        <p:nvSpPr>
          <p:cNvPr id="76" name="Picture Placeholder 67">
            <a:extLst>
              <a:ext uri="{FF2B5EF4-FFF2-40B4-BE49-F238E27FC236}">
                <a16:creationId xmlns:a16="http://schemas.microsoft.com/office/drawing/2014/main" id="{47923A8E-9E66-7F4D-8781-CCBF0F113522}"/>
              </a:ext>
            </a:extLst>
          </p:cNvPr>
          <p:cNvSpPr>
            <a:spLocks noGrp="1" noChangeAspect="1"/>
          </p:cNvSpPr>
          <p:nvPr>
            <p:ph type="pic" sz="quarter" idx="18" hasCustomPrompt="1"/>
          </p:nvPr>
        </p:nvSpPr>
        <p:spPr>
          <a:xfrm>
            <a:off x="2770503" y="4596237"/>
            <a:ext cx="853440" cy="853440"/>
          </a:xfrm>
          <a:prstGeom prst="ellipse">
            <a:avLst/>
          </a:prstGeom>
        </p:spPr>
        <p:txBody>
          <a:bodyPr wrap="none" anchor="ctr" anchorCtr="0"/>
          <a:lstStyle>
            <a:lvl1pPr algn="ctr">
              <a:defRPr sz="1200"/>
            </a:lvl1pPr>
          </a:lstStyle>
          <a:p>
            <a:r>
              <a:rPr lang="en-US"/>
              <a:t>Photo</a:t>
            </a:r>
          </a:p>
        </p:txBody>
      </p:sp>
      <p:sp>
        <p:nvSpPr>
          <p:cNvPr id="77" name="Picture Placeholder 67">
            <a:extLst>
              <a:ext uri="{FF2B5EF4-FFF2-40B4-BE49-F238E27FC236}">
                <a16:creationId xmlns:a16="http://schemas.microsoft.com/office/drawing/2014/main" id="{A807AAB4-7D38-8749-A3A8-9DC774C71408}"/>
              </a:ext>
            </a:extLst>
          </p:cNvPr>
          <p:cNvSpPr>
            <a:spLocks noGrp="1" noChangeAspect="1"/>
          </p:cNvSpPr>
          <p:nvPr>
            <p:ph type="pic" sz="quarter" idx="19" hasCustomPrompt="1"/>
          </p:nvPr>
        </p:nvSpPr>
        <p:spPr>
          <a:xfrm>
            <a:off x="4719159" y="4596237"/>
            <a:ext cx="853440" cy="853440"/>
          </a:xfrm>
          <a:prstGeom prst="ellipse">
            <a:avLst/>
          </a:prstGeom>
        </p:spPr>
        <p:txBody>
          <a:bodyPr wrap="none" anchor="ctr" anchorCtr="0"/>
          <a:lstStyle>
            <a:lvl1pPr algn="ctr">
              <a:defRPr sz="1200"/>
            </a:lvl1pPr>
          </a:lstStyle>
          <a:p>
            <a:r>
              <a:rPr lang="en-US"/>
              <a:t>Photo</a:t>
            </a:r>
          </a:p>
        </p:txBody>
      </p:sp>
      <p:sp>
        <p:nvSpPr>
          <p:cNvPr id="78" name="Picture Placeholder 67">
            <a:extLst>
              <a:ext uri="{FF2B5EF4-FFF2-40B4-BE49-F238E27FC236}">
                <a16:creationId xmlns:a16="http://schemas.microsoft.com/office/drawing/2014/main" id="{A35E9005-8BE0-4C4F-B7DD-CC86B7D2A870}"/>
              </a:ext>
            </a:extLst>
          </p:cNvPr>
          <p:cNvSpPr>
            <a:spLocks noGrp="1" noChangeAspect="1"/>
          </p:cNvSpPr>
          <p:nvPr>
            <p:ph type="pic" sz="quarter" idx="20" hasCustomPrompt="1"/>
          </p:nvPr>
        </p:nvSpPr>
        <p:spPr>
          <a:xfrm>
            <a:off x="6618604" y="4596237"/>
            <a:ext cx="853440" cy="853440"/>
          </a:xfrm>
          <a:prstGeom prst="ellipse">
            <a:avLst/>
          </a:prstGeom>
        </p:spPr>
        <p:txBody>
          <a:bodyPr wrap="none" anchor="ctr" anchorCtr="0"/>
          <a:lstStyle>
            <a:lvl1pPr algn="ctr">
              <a:defRPr sz="1200"/>
            </a:lvl1pPr>
          </a:lstStyle>
          <a:p>
            <a:r>
              <a:rPr lang="en-US"/>
              <a:t>Photo</a:t>
            </a:r>
          </a:p>
        </p:txBody>
      </p:sp>
      <p:sp>
        <p:nvSpPr>
          <p:cNvPr id="79" name="Picture Placeholder 67">
            <a:extLst>
              <a:ext uri="{FF2B5EF4-FFF2-40B4-BE49-F238E27FC236}">
                <a16:creationId xmlns:a16="http://schemas.microsoft.com/office/drawing/2014/main" id="{2F590A45-CA68-B941-B458-96CDCDD6857D}"/>
              </a:ext>
            </a:extLst>
          </p:cNvPr>
          <p:cNvSpPr>
            <a:spLocks noGrp="1" noChangeAspect="1"/>
          </p:cNvSpPr>
          <p:nvPr>
            <p:ph type="pic" sz="quarter" idx="21" hasCustomPrompt="1"/>
          </p:nvPr>
        </p:nvSpPr>
        <p:spPr>
          <a:xfrm>
            <a:off x="8542655" y="4596237"/>
            <a:ext cx="853440" cy="853440"/>
          </a:xfrm>
          <a:prstGeom prst="ellipse">
            <a:avLst/>
          </a:prstGeom>
        </p:spPr>
        <p:txBody>
          <a:bodyPr wrap="none" anchor="ctr" anchorCtr="0"/>
          <a:lstStyle>
            <a:lvl1pPr algn="ctr">
              <a:defRPr sz="1200"/>
            </a:lvl1pPr>
          </a:lstStyle>
          <a:p>
            <a:r>
              <a:rPr lang="en-US"/>
              <a:t>Photo</a:t>
            </a:r>
          </a:p>
        </p:txBody>
      </p:sp>
      <p:sp>
        <p:nvSpPr>
          <p:cNvPr id="80" name="Picture Placeholder 67">
            <a:extLst>
              <a:ext uri="{FF2B5EF4-FFF2-40B4-BE49-F238E27FC236}">
                <a16:creationId xmlns:a16="http://schemas.microsoft.com/office/drawing/2014/main" id="{9D18AC67-CAF4-8445-BA90-C8CBB4B6E904}"/>
              </a:ext>
            </a:extLst>
          </p:cNvPr>
          <p:cNvSpPr>
            <a:spLocks noGrp="1" noChangeAspect="1"/>
          </p:cNvSpPr>
          <p:nvPr>
            <p:ph type="pic" sz="quarter" idx="22" hasCustomPrompt="1"/>
          </p:nvPr>
        </p:nvSpPr>
        <p:spPr>
          <a:xfrm>
            <a:off x="10466708" y="4596237"/>
            <a:ext cx="853440" cy="853440"/>
          </a:xfrm>
          <a:prstGeom prst="ellipse">
            <a:avLst/>
          </a:prstGeom>
        </p:spPr>
        <p:txBody>
          <a:bodyPr wrap="none" anchor="ctr" anchorCtr="0"/>
          <a:lstStyle>
            <a:lvl1pPr algn="ctr">
              <a:defRPr sz="1200"/>
            </a:lvl1pPr>
          </a:lstStyle>
          <a:p>
            <a:r>
              <a:rPr lang="en-US"/>
              <a:t>Photo</a:t>
            </a:r>
          </a:p>
        </p:txBody>
      </p:sp>
      <p:sp>
        <p:nvSpPr>
          <p:cNvPr id="84" name="Text Placeholder 83">
            <a:extLst>
              <a:ext uri="{FF2B5EF4-FFF2-40B4-BE49-F238E27FC236}">
                <a16:creationId xmlns:a16="http://schemas.microsoft.com/office/drawing/2014/main" id="{C02D659B-EDAA-AF44-83C8-D458AB70B4E1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5168899" y="1907479"/>
            <a:ext cx="1828800" cy="609600"/>
          </a:xfrm>
          <a:prstGeom prst="rect">
            <a:avLst/>
          </a:prstGeom>
        </p:spPr>
        <p:txBody>
          <a:bodyPr anchor="ctr"/>
          <a:lstStyle>
            <a:lvl1pPr algn="ctr">
              <a:defRPr sz="1333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  <a:br>
              <a:rPr lang="en-US"/>
            </a:br>
            <a:r>
              <a:rPr lang="en-US"/>
              <a:t>NAME</a:t>
            </a:r>
          </a:p>
        </p:txBody>
      </p:sp>
      <p:sp>
        <p:nvSpPr>
          <p:cNvPr id="85" name="Text Placeholder 83">
            <a:extLst>
              <a:ext uri="{FF2B5EF4-FFF2-40B4-BE49-F238E27FC236}">
                <a16:creationId xmlns:a16="http://schemas.microsoft.com/office/drawing/2014/main" id="{29E3ABCE-1905-054D-AE33-B99DB271A1C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231479" y="3737627"/>
            <a:ext cx="1828800" cy="609600"/>
          </a:xfrm>
          <a:prstGeom prst="rect">
            <a:avLst/>
          </a:prstGeom>
        </p:spPr>
        <p:txBody>
          <a:bodyPr anchor="ctr"/>
          <a:lstStyle>
            <a:lvl1pPr algn="ctr">
              <a:defRPr sz="1333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  <a:br>
              <a:rPr lang="en-US"/>
            </a:br>
            <a:r>
              <a:rPr lang="en-US"/>
              <a:t>NAME</a:t>
            </a:r>
          </a:p>
        </p:txBody>
      </p:sp>
      <p:sp>
        <p:nvSpPr>
          <p:cNvPr id="86" name="Text Placeholder 83">
            <a:extLst>
              <a:ext uri="{FF2B5EF4-FFF2-40B4-BE49-F238E27FC236}">
                <a16:creationId xmlns:a16="http://schemas.microsoft.com/office/drawing/2014/main" id="{EF9639B7-3A62-A34A-8C27-1FC8AA9DCF87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2282823" y="3737627"/>
            <a:ext cx="1828800" cy="609600"/>
          </a:xfrm>
          <a:prstGeom prst="rect">
            <a:avLst/>
          </a:prstGeom>
        </p:spPr>
        <p:txBody>
          <a:bodyPr anchor="ctr"/>
          <a:lstStyle>
            <a:lvl1pPr algn="ctr">
              <a:defRPr sz="1333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  <a:br>
              <a:rPr lang="en-US"/>
            </a:br>
            <a:r>
              <a:rPr lang="en-US"/>
              <a:t>NAME</a:t>
            </a:r>
          </a:p>
        </p:txBody>
      </p:sp>
      <p:sp>
        <p:nvSpPr>
          <p:cNvPr id="87" name="Text Placeholder 83">
            <a:extLst>
              <a:ext uri="{FF2B5EF4-FFF2-40B4-BE49-F238E27FC236}">
                <a16:creationId xmlns:a16="http://schemas.microsoft.com/office/drawing/2014/main" id="{2AE43484-C007-CD45-887E-8EDA1B42A3E3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58772" y="3737627"/>
            <a:ext cx="1828800" cy="609600"/>
          </a:xfrm>
          <a:prstGeom prst="rect">
            <a:avLst/>
          </a:prstGeom>
        </p:spPr>
        <p:txBody>
          <a:bodyPr anchor="ctr"/>
          <a:lstStyle>
            <a:lvl1pPr algn="ctr">
              <a:defRPr sz="1333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  <a:br>
              <a:rPr lang="en-US"/>
            </a:br>
            <a:r>
              <a:rPr lang="en-US"/>
              <a:t>NAME</a:t>
            </a:r>
          </a:p>
        </p:txBody>
      </p:sp>
      <p:sp>
        <p:nvSpPr>
          <p:cNvPr id="91" name="Text Placeholder 83">
            <a:extLst>
              <a:ext uri="{FF2B5EF4-FFF2-40B4-BE49-F238E27FC236}">
                <a16:creationId xmlns:a16="http://schemas.microsoft.com/office/drawing/2014/main" id="{45E222CC-2B87-E44D-982E-FB34E0E2DB3E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979028" y="3737627"/>
            <a:ext cx="1828800" cy="609600"/>
          </a:xfrm>
          <a:prstGeom prst="rect">
            <a:avLst/>
          </a:prstGeom>
        </p:spPr>
        <p:txBody>
          <a:bodyPr anchor="ctr"/>
          <a:lstStyle>
            <a:lvl1pPr algn="ctr">
              <a:defRPr sz="1333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  <a:br>
              <a:rPr lang="en-US"/>
            </a:br>
            <a:r>
              <a:rPr lang="en-US"/>
              <a:t>NAME</a:t>
            </a:r>
          </a:p>
        </p:txBody>
      </p:sp>
      <p:sp>
        <p:nvSpPr>
          <p:cNvPr id="92" name="Text Placeholder 83">
            <a:extLst>
              <a:ext uri="{FF2B5EF4-FFF2-40B4-BE49-F238E27FC236}">
                <a16:creationId xmlns:a16="http://schemas.microsoft.com/office/drawing/2014/main" id="{3819E673-5616-2149-9AE3-3292F0F2BCD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054975" y="3737627"/>
            <a:ext cx="1828800" cy="609600"/>
          </a:xfrm>
          <a:prstGeom prst="rect">
            <a:avLst/>
          </a:prstGeom>
        </p:spPr>
        <p:txBody>
          <a:bodyPr anchor="ctr"/>
          <a:lstStyle>
            <a:lvl1pPr algn="ctr">
              <a:defRPr sz="1333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  <a:br>
              <a:rPr lang="en-US"/>
            </a:br>
            <a:r>
              <a:rPr lang="en-US"/>
              <a:t>NAME</a:t>
            </a:r>
          </a:p>
        </p:txBody>
      </p:sp>
      <p:sp>
        <p:nvSpPr>
          <p:cNvPr id="93" name="Text Placeholder 83">
            <a:extLst>
              <a:ext uri="{FF2B5EF4-FFF2-40B4-BE49-F238E27FC236}">
                <a16:creationId xmlns:a16="http://schemas.microsoft.com/office/drawing/2014/main" id="{8F554C34-9BBF-A541-89D9-97E54C89F9E9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130924" y="3737627"/>
            <a:ext cx="1828800" cy="609600"/>
          </a:xfrm>
          <a:prstGeom prst="rect">
            <a:avLst/>
          </a:prstGeom>
        </p:spPr>
        <p:txBody>
          <a:bodyPr anchor="ctr"/>
          <a:lstStyle>
            <a:lvl1pPr algn="ctr">
              <a:defRPr sz="1333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  <a:br>
              <a:rPr lang="en-US"/>
            </a:br>
            <a:r>
              <a:rPr lang="en-US"/>
              <a:t>NAME</a:t>
            </a:r>
          </a:p>
        </p:txBody>
      </p:sp>
      <p:sp>
        <p:nvSpPr>
          <p:cNvPr id="94" name="Text Placeholder 83">
            <a:extLst>
              <a:ext uri="{FF2B5EF4-FFF2-40B4-BE49-F238E27FC236}">
                <a16:creationId xmlns:a16="http://schemas.microsoft.com/office/drawing/2014/main" id="{E7FD17CB-F4DF-5F49-9995-51FE74116DDD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4231479" y="5558756"/>
            <a:ext cx="1828800" cy="609600"/>
          </a:xfrm>
          <a:prstGeom prst="rect">
            <a:avLst/>
          </a:prstGeom>
        </p:spPr>
        <p:txBody>
          <a:bodyPr anchor="ctr"/>
          <a:lstStyle>
            <a:lvl1pPr algn="ctr">
              <a:defRPr sz="1333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  <a:br>
              <a:rPr lang="en-US"/>
            </a:br>
            <a:r>
              <a:rPr lang="en-US"/>
              <a:t>NAME</a:t>
            </a:r>
          </a:p>
        </p:txBody>
      </p:sp>
      <p:sp>
        <p:nvSpPr>
          <p:cNvPr id="95" name="Text Placeholder 83">
            <a:extLst>
              <a:ext uri="{FF2B5EF4-FFF2-40B4-BE49-F238E27FC236}">
                <a16:creationId xmlns:a16="http://schemas.microsoft.com/office/drawing/2014/main" id="{B7BC876C-A31A-CA4D-8AAE-4BA8556B4E59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2282823" y="5558756"/>
            <a:ext cx="1828800" cy="609600"/>
          </a:xfrm>
          <a:prstGeom prst="rect">
            <a:avLst/>
          </a:prstGeom>
        </p:spPr>
        <p:txBody>
          <a:bodyPr anchor="ctr"/>
          <a:lstStyle>
            <a:lvl1pPr algn="ctr">
              <a:defRPr sz="1333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  <a:br>
              <a:rPr lang="en-US"/>
            </a:br>
            <a:r>
              <a:rPr lang="en-US"/>
              <a:t>NAME</a:t>
            </a:r>
          </a:p>
        </p:txBody>
      </p:sp>
      <p:sp>
        <p:nvSpPr>
          <p:cNvPr id="96" name="Text Placeholder 83">
            <a:extLst>
              <a:ext uri="{FF2B5EF4-FFF2-40B4-BE49-F238E27FC236}">
                <a16:creationId xmlns:a16="http://schemas.microsoft.com/office/drawing/2014/main" id="{5742E852-9D95-2748-9828-9B786742A788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358772" y="5558756"/>
            <a:ext cx="1828800" cy="609600"/>
          </a:xfrm>
          <a:prstGeom prst="rect">
            <a:avLst/>
          </a:prstGeom>
        </p:spPr>
        <p:txBody>
          <a:bodyPr anchor="ctr"/>
          <a:lstStyle>
            <a:lvl1pPr algn="ctr">
              <a:defRPr sz="1333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  <a:br>
              <a:rPr lang="en-US"/>
            </a:br>
            <a:r>
              <a:rPr lang="en-US"/>
              <a:t>NAME</a:t>
            </a:r>
          </a:p>
        </p:txBody>
      </p:sp>
      <p:sp>
        <p:nvSpPr>
          <p:cNvPr id="97" name="Text Placeholder 83">
            <a:extLst>
              <a:ext uri="{FF2B5EF4-FFF2-40B4-BE49-F238E27FC236}">
                <a16:creationId xmlns:a16="http://schemas.microsoft.com/office/drawing/2014/main" id="{B67AA0B1-8F0C-5846-A67D-EFAC1FC6B368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9979028" y="5558756"/>
            <a:ext cx="1828800" cy="609600"/>
          </a:xfrm>
          <a:prstGeom prst="rect">
            <a:avLst/>
          </a:prstGeom>
        </p:spPr>
        <p:txBody>
          <a:bodyPr anchor="ctr"/>
          <a:lstStyle>
            <a:lvl1pPr algn="ctr">
              <a:defRPr sz="1333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  <a:br>
              <a:rPr lang="en-US"/>
            </a:br>
            <a:r>
              <a:rPr lang="en-US"/>
              <a:t>NAME</a:t>
            </a:r>
          </a:p>
        </p:txBody>
      </p:sp>
      <p:sp>
        <p:nvSpPr>
          <p:cNvPr id="98" name="Text Placeholder 83">
            <a:extLst>
              <a:ext uri="{FF2B5EF4-FFF2-40B4-BE49-F238E27FC236}">
                <a16:creationId xmlns:a16="http://schemas.microsoft.com/office/drawing/2014/main" id="{B55F96C8-C0D9-F542-A9A6-B8A7B7023E19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8054975" y="5558756"/>
            <a:ext cx="1828800" cy="609600"/>
          </a:xfrm>
          <a:prstGeom prst="rect">
            <a:avLst/>
          </a:prstGeom>
        </p:spPr>
        <p:txBody>
          <a:bodyPr anchor="ctr"/>
          <a:lstStyle>
            <a:lvl1pPr algn="ctr">
              <a:defRPr sz="1333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  <a:br>
              <a:rPr lang="en-US"/>
            </a:br>
            <a:r>
              <a:rPr lang="en-US"/>
              <a:t>NAME</a:t>
            </a:r>
          </a:p>
        </p:txBody>
      </p:sp>
      <p:sp>
        <p:nvSpPr>
          <p:cNvPr id="99" name="Text Placeholder 83">
            <a:extLst>
              <a:ext uri="{FF2B5EF4-FFF2-40B4-BE49-F238E27FC236}">
                <a16:creationId xmlns:a16="http://schemas.microsoft.com/office/drawing/2014/main" id="{78431463-4631-F443-8913-B0705CC2A0E9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6130924" y="5558756"/>
            <a:ext cx="1828800" cy="609600"/>
          </a:xfrm>
          <a:prstGeom prst="rect">
            <a:avLst/>
          </a:prstGeom>
        </p:spPr>
        <p:txBody>
          <a:bodyPr anchor="ctr"/>
          <a:lstStyle>
            <a:lvl1pPr algn="ctr">
              <a:defRPr sz="1333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  <a:br>
              <a:rPr lang="en-US"/>
            </a:br>
            <a:r>
              <a:rPr lang="en-US"/>
              <a:t>NAME</a:t>
            </a:r>
          </a:p>
        </p:txBody>
      </p:sp>
    </p:spTree>
    <p:extLst>
      <p:ext uri="{BB962C8B-B14F-4D97-AF65-F5344CB8AC3E}">
        <p14:creationId xmlns:p14="http://schemas.microsoft.com/office/powerpoint/2010/main" val="2351664676"/>
      </p:ext>
    </p:extLst>
  </p:cSld>
  <p:clrMapOvr>
    <a:masterClrMapping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WO COLUMN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CBFDDF4-0565-424E-AFE7-6000EF98D79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anchor="t"/>
          <a:lstStyle/>
          <a:p>
            <a:r>
              <a:rPr lang="en-US"/>
              <a:t>Click to Add Tit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E7F9D7D-4DBE-A14F-AD81-567BE16C291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83119" y="1711218"/>
            <a:ext cx="5555541" cy="3868369"/>
          </a:xfrm>
          <a:prstGeom prst="rect">
            <a:avLst/>
          </a:prstGeom>
        </p:spPr>
        <p:txBody>
          <a:bodyPr/>
          <a:lstStyle>
            <a:lvl1pPr>
              <a:buClr>
                <a:schemeClr val="accent2"/>
              </a:buClr>
              <a:defRPr sz="2400">
                <a:solidFill>
                  <a:schemeClr val="tx1"/>
                </a:solidFill>
              </a:defRPr>
            </a:lvl1pPr>
            <a:lvl2pPr>
              <a:buClr>
                <a:schemeClr val="accent2"/>
              </a:buClr>
              <a:defRPr sz="2133">
                <a:solidFill>
                  <a:schemeClr val="tx1"/>
                </a:solidFill>
              </a:defRPr>
            </a:lvl2pPr>
            <a:lvl3pPr>
              <a:buClr>
                <a:schemeClr val="accent2"/>
              </a:buClr>
              <a:defRPr sz="2133">
                <a:solidFill>
                  <a:schemeClr val="tx1"/>
                </a:solidFill>
              </a:defRPr>
            </a:lvl3pPr>
            <a:lvl4pPr>
              <a:buClr>
                <a:schemeClr val="accent2"/>
              </a:buClr>
              <a:defRPr sz="2133">
                <a:solidFill>
                  <a:schemeClr val="tx1"/>
                </a:solidFill>
              </a:defRPr>
            </a:lvl4pPr>
            <a:lvl5pPr>
              <a:buClr>
                <a:schemeClr val="accent2"/>
              </a:buClr>
              <a:defRPr sz="2133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 First level bullet</a:t>
            </a:r>
          </a:p>
          <a:p>
            <a:pPr lvl="2"/>
            <a:r>
              <a:rPr lang="en-US"/>
              <a:t>Second level bullet</a:t>
            </a:r>
          </a:p>
          <a:p>
            <a:pPr lvl="3"/>
            <a:r>
              <a:rPr lang="en-US"/>
              <a:t>Third level bullet</a:t>
            </a:r>
          </a:p>
          <a:p>
            <a:pPr lvl="4"/>
            <a:r>
              <a:rPr lang="en-US"/>
              <a:t>Fourth level bullet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3314572A-F8DA-B445-8F76-F9ACF540CAF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3395" y="1244601"/>
            <a:ext cx="5550260" cy="46778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buFontTx/>
              <a:buNone/>
              <a:defRPr lang="en-US" sz="2667" b="1" smtClean="0">
                <a:solidFill>
                  <a:schemeClr val="accent2"/>
                </a:solidFill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lvl="0">
              <a:buClr>
                <a:schemeClr val="accent1"/>
              </a:buClr>
            </a:pPr>
            <a:r>
              <a:rPr lang="en-US"/>
              <a:t>Click to add text</a:t>
            </a: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29B914D0-B34A-164F-801B-ECC3FC81FF9E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6253064" y="1711218"/>
            <a:ext cx="5555541" cy="3868369"/>
          </a:xfrm>
          <a:prstGeom prst="rect">
            <a:avLst/>
          </a:prstGeom>
        </p:spPr>
        <p:txBody>
          <a:bodyPr/>
          <a:lstStyle>
            <a:lvl1pPr>
              <a:buClr>
                <a:schemeClr val="accent2"/>
              </a:buClr>
              <a:defRPr sz="2133">
                <a:solidFill>
                  <a:schemeClr val="tx1"/>
                </a:solidFill>
              </a:defRPr>
            </a:lvl1pPr>
            <a:lvl2pPr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2"/>
              </a:buClr>
              <a:tabLst/>
              <a:defRPr lang="en-US" sz="2133" b="0" i="0" kern="1200" baseline="0" dirty="0" smtClean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2pPr>
            <a:lvl3pPr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2"/>
              </a:buClr>
              <a:tabLst/>
              <a:defRPr lang="en-US" sz="2133" b="0" i="0" kern="1200" baseline="0" dirty="0" smtClean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3pPr>
            <a:lvl4pPr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2"/>
              </a:buClr>
              <a:tabLst/>
              <a:defRPr lang="en-US" sz="2133" b="0" i="0" kern="1200" baseline="0" dirty="0" smtClean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4pPr>
            <a:lvl5pPr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2"/>
              </a:buClr>
              <a:tabLst/>
              <a:defRPr lang="en-US" sz="2133" b="0" i="0" kern="1200" baseline="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5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 First level bullet</a:t>
            </a:r>
          </a:p>
          <a:p>
            <a:pPr lvl="2"/>
            <a:r>
              <a:rPr lang="en-US"/>
              <a:t>Second level bullet</a:t>
            </a:r>
          </a:p>
          <a:p>
            <a:pPr lvl="3"/>
            <a:r>
              <a:rPr lang="en-US"/>
              <a:t>Third level bullet</a:t>
            </a:r>
          </a:p>
          <a:p>
            <a:pPr lvl="4"/>
            <a:r>
              <a:rPr lang="en-US"/>
              <a:t>Fourth level bullet</a:t>
            </a:r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20F9718D-FF43-4347-8243-4083BC2ECDB0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6253341" y="1244601"/>
            <a:ext cx="5550260" cy="46778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buFontTx/>
              <a:buNone/>
              <a:defRPr lang="en-US" sz="2667" b="1" i="0" kern="1200" dirty="0">
                <a:solidFill>
                  <a:schemeClr val="accent2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L="0" lvl="0" indent="0" algn="l" defTabSz="609585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accent1"/>
              </a:buClr>
              <a:buFontTx/>
              <a:buNone/>
            </a:pPr>
            <a:r>
              <a:rPr lang="en-US"/>
              <a:t>Click to add text</a:t>
            </a:r>
          </a:p>
        </p:txBody>
      </p:sp>
      <p:sp>
        <p:nvSpPr>
          <p:cNvPr id="11" name="Slide Number Placeholder 2">
            <a:extLst>
              <a:ext uri="{FF2B5EF4-FFF2-40B4-BE49-F238E27FC236}">
                <a16:creationId xmlns:a16="http://schemas.microsoft.com/office/drawing/2014/main" id="{333460AB-24AC-6C4E-82CC-A8C5D193E5D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bg1"/>
                </a:solidFill>
              </a:defRPr>
            </a:lvl1pPr>
          </a:lstStyle>
          <a:p>
            <a:fld id="{F531C153-56E2-4D58-BF8C-84423A751AD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55860553"/>
      </p:ext>
    </p:extLst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27C3234-2208-4FD5-BA5D-47924B90C3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anchor="t"/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FDB9B4E4-BFD7-5947-A10A-2DFC2156CD68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383396" y="1200505"/>
            <a:ext cx="5712605" cy="4725865"/>
          </a:xfrm>
          <a:prstGeom prst="rect">
            <a:avLst/>
          </a:prstGeom>
        </p:spPr>
        <p:txBody>
          <a:bodyPr/>
          <a:lstStyle>
            <a:lvl1pPr>
              <a:buClr>
                <a:schemeClr val="accent2"/>
              </a:buClr>
              <a:defRPr sz="2667">
                <a:solidFill>
                  <a:schemeClr val="tx1"/>
                </a:solidFill>
              </a:defRPr>
            </a:lvl1pPr>
            <a:lvl2pPr>
              <a:buClr>
                <a:schemeClr val="accent2"/>
              </a:buClr>
              <a:defRPr sz="2400">
                <a:solidFill>
                  <a:schemeClr val="tx1"/>
                </a:solidFill>
              </a:defRPr>
            </a:lvl2pPr>
            <a:lvl3pPr>
              <a:buClr>
                <a:schemeClr val="accent2"/>
              </a:buClr>
              <a:defRPr sz="2400">
                <a:solidFill>
                  <a:schemeClr val="tx1"/>
                </a:solidFill>
              </a:defRPr>
            </a:lvl3pPr>
            <a:lvl4pPr>
              <a:buClr>
                <a:schemeClr val="accent2"/>
              </a:buClr>
              <a:defRPr sz="2400">
                <a:solidFill>
                  <a:schemeClr val="tx1"/>
                </a:solidFill>
              </a:defRPr>
            </a:lvl4pPr>
            <a:lvl5pPr marL="918610" indent="0">
              <a:buNone/>
              <a:defRPr sz="2133"/>
            </a:lvl5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 First level bullet</a:t>
            </a:r>
          </a:p>
          <a:p>
            <a:pPr lvl="2"/>
            <a:r>
              <a:rPr lang="en-US"/>
              <a:t>Second level bullet</a:t>
            </a:r>
          </a:p>
          <a:p>
            <a:pPr lvl="3"/>
            <a:r>
              <a:rPr lang="en-US"/>
              <a:t>Third level bullet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4A1A857E-3A8C-0F47-8766-21EF708CB324}"/>
              </a:ext>
            </a:extLst>
          </p:cNvPr>
          <p:cNvSpPr>
            <a:spLocks noGrp="1"/>
          </p:cNvSpPr>
          <p:nvPr>
            <p:ph sz="quarter" idx="41" hasCustomPrompt="1"/>
          </p:nvPr>
        </p:nvSpPr>
        <p:spPr>
          <a:xfrm>
            <a:off x="6096001" y="1200505"/>
            <a:ext cx="5712884" cy="4726516"/>
          </a:xfrm>
          <a:prstGeom prst="rect">
            <a:avLst/>
          </a:prstGeom>
        </p:spPr>
        <p:txBody>
          <a:bodyPr/>
          <a:lstStyle>
            <a:lvl1pPr algn="ctr">
              <a:defRPr sz="2400" i="1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US"/>
              <a:t>Click icon to add visual content </a:t>
            </a:r>
          </a:p>
        </p:txBody>
      </p:sp>
      <p:sp>
        <p:nvSpPr>
          <p:cNvPr id="7" name="Slide Number Placeholder 2">
            <a:extLst>
              <a:ext uri="{FF2B5EF4-FFF2-40B4-BE49-F238E27FC236}">
                <a16:creationId xmlns:a16="http://schemas.microsoft.com/office/drawing/2014/main" id="{1D6A0684-132F-EA40-99F9-7250FDE3BB9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bg1"/>
                </a:solidFill>
              </a:defRPr>
            </a:lvl1pPr>
          </a:lstStyle>
          <a:p>
            <a:fld id="{F531C153-56E2-4D58-BF8C-84423A751AD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36477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LUMN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CBFDDF4-0565-424E-AFE7-6000EF98D79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anchor="t"/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EE0AA4A-BDF6-5B4A-84AE-EDC943B6DD6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83395" y="889001"/>
            <a:ext cx="11425211" cy="452967"/>
          </a:xfrm>
          <a:prstGeom prst="rect">
            <a:avLst/>
          </a:prstGeom>
        </p:spPr>
        <p:txBody>
          <a:bodyPr anchor="b">
            <a:noAutofit/>
          </a:bodyPr>
          <a:lstStyle>
            <a:lvl1pPr>
              <a:defRPr lang="en-US" sz="2400" b="0" i="0" kern="1200" dirty="0">
                <a:solidFill>
                  <a:schemeClr val="accent2"/>
                </a:solidFill>
                <a:latin typeface="+mj-lt"/>
                <a:ea typeface="Helvetica Neue Thin" panose="020B0403020202020204" pitchFamily="34" charset="0"/>
                <a:cs typeface="+mn-cs"/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0C88D5C2-25B4-C947-B4BE-01EFB89FF132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383395" y="1573356"/>
            <a:ext cx="3670048" cy="4302512"/>
          </a:xfrm>
          <a:prstGeom prst="rect">
            <a:avLst/>
          </a:prstGeom>
        </p:spPr>
        <p:txBody>
          <a:bodyPr/>
          <a:lstStyle>
            <a:lvl1pPr algn="l">
              <a:defRPr b="1">
                <a:solidFill>
                  <a:schemeClr val="accent1"/>
                </a:solidFill>
              </a:defRPr>
            </a:lvl1pPr>
            <a:lvl2pPr algn="ctr">
              <a:defRPr/>
            </a:lvl2pPr>
            <a:lvl3pPr algn="ctr">
              <a:defRPr/>
            </a:lvl3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C0F55473-9E48-E149-A5F9-16BF6F270348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4260976" y="1573356"/>
            <a:ext cx="3670048" cy="4302512"/>
          </a:xfrm>
          <a:prstGeom prst="rect">
            <a:avLst/>
          </a:prstGeom>
        </p:spPr>
        <p:txBody>
          <a:bodyPr/>
          <a:lstStyle>
            <a:lvl1pPr algn="l">
              <a:defRPr b="1">
                <a:solidFill>
                  <a:schemeClr val="tx2"/>
                </a:solidFill>
              </a:defRPr>
            </a:lvl1pPr>
            <a:lvl2pPr algn="ctr">
              <a:defRPr/>
            </a:lvl2pPr>
            <a:lvl3pPr algn="ctr">
              <a:defRPr/>
            </a:lvl3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52CCD20B-9D2C-A14B-AB10-A1D174CDC891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8138557" y="1573356"/>
            <a:ext cx="3670048" cy="4302512"/>
          </a:xfrm>
          <a:prstGeom prst="rect">
            <a:avLst/>
          </a:prstGeom>
        </p:spPr>
        <p:txBody>
          <a:bodyPr/>
          <a:lstStyle>
            <a:lvl1pPr algn="l">
              <a:defRPr b="1">
                <a:solidFill>
                  <a:schemeClr val="accent4"/>
                </a:solidFill>
              </a:defRPr>
            </a:lvl1pPr>
            <a:lvl2pPr algn="ctr">
              <a:defRPr/>
            </a:lvl2pPr>
            <a:lvl3pPr algn="ctr">
              <a:defRPr/>
            </a:lvl3pPr>
          </a:lstStyle>
          <a:p>
            <a:pPr lvl="0"/>
            <a:r>
              <a:rPr lang="en-US"/>
              <a:t>Click to add text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5210853F-17FF-CF4B-B109-05FE4080C7ED}"/>
              </a:ext>
            </a:extLst>
          </p:cNvPr>
          <p:cNvCxnSpPr/>
          <p:nvPr/>
        </p:nvCxnSpPr>
        <p:spPr>
          <a:xfrm>
            <a:off x="4158807" y="1556130"/>
            <a:ext cx="0" cy="4319737"/>
          </a:xfrm>
          <a:prstGeom prst="line">
            <a:avLst/>
          </a:prstGeom>
          <a:ln w="19050" cap="rnd" cmpd="sng">
            <a:solidFill>
              <a:schemeClr val="bg1">
                <a:lumMod val="50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465D4A41-C112-B14F-819C-90777051EEB1}"/>
              </a:ext>
            </a:extLst>
          </p:cNvPr>
          <p:cNvCxnSpPr/>
          <p:nvPr/>
        </p:nvCxnSpPr>
        <p:spPr>
          <a:xfrm>
            <a:off x="8052783" y="1556130"/>
            <a:ext cx="0" cy="4319737"/>
          </a:xfrm>
          <a:prstGeom prst="line">
            <a:avLst/>
          </a:prstGeom>
          <a:ln w="19050" cap="rnd" cmpd="sng">
            <a:solidFill>
              <a:schemeClr val="bg1">
                <a:lumMod val="50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D655AE43-B2D1-6241-81E2-F5ACBA14F0A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bg1"/>
                </a:solidFill>
              </a:defRPr>
            </a:lvl1pPr>
          </a:lstStyle>
          <a:p>
            <a:fld id="{F531C153-56E2-4D58-BF8C-84423A751AD4}" type="slidenum">
              <a:rPr lang="en-US" smtClean="0"/>
              <a:t>‹#›</a:t>
            </a:fld>
            <a:endParaRPr lang="en-US"/>
          </a:p>
        </p:txBody>
      </p:sp>
      <p:sp>
        <p:nvSpPr>
          <p:cNvPr id="12" name="Text Placeholder 4">
            <a:extLst>
              <a:ext uri="{FF2B5EF4-FFF2-40B4-BE49-F238E27FC236}">
                <a16:creationId xmlns:a16="http://schemas.microsoft.com/office/drawing/2014/main" id="{BC856B65-CEF7-2248-90B4-3C5ED22AF9F8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383383" y="2070310"/>
            <a:ext cx="3670048" cy="3805557"/>
          </a:xfrm>
          <a:prstGeom prst="rect">
            <a:avLst/>
          </a:prstGeom>
        </p:spPr>
        <p:txBody>
          <a:bodyPr anchor="t"/>
          <a:lstStyle>
            <a:lvl1pPr marL="160863" indent="-160863">
              <a:buClr>
                <a:schemeClr val="accent2"/>
              </a:buClr>
              <a:buFont typeface="Arial" panose="020B0604020202020204" pitchFamily="34" charset="0"/>
              <a:buChar char="•"/>
              <a:defRPr lang="en-US" sz="2133" b="0" i="0" kern="1200" baseline="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>
              <a:defRPr lang="en-US" sz="2133" b="0" i="0" kern="1200" baseline="0" dirty="0">
                <a:solidFill>
                  <a:schemeClr val="tx1">
                    <a:lumMod val="50000"/>
                  </a:schemeClr>
                </a:solidFill>
                <a:latin typeface="+mn-lt"/>
                <a:ea typeface="Helvetica Neue Thin" panose="020B0403020202020204" pitchFamily="34" charset="0"/>
                <a:cs typeface="+mn-cs"/>
              </a:defRPr>
            </a:lvl2pPr>
            <a:lvl3pPr>
              <a:defRPr sz="1400"/>
            </a:lvl3pPr>
            <a:lvl4pPr>
              <a:defRPr sz="1333"/>
            </a:lvl4pPr>
            <a:lvl5pPr>
              <a:defRPr sz="1200"/>
            </a:lvl5pPr>
          </a:lstStyle>
          <a:p>
            <a:pPr marL="160863" lvl="0" indent="-160863"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2"/>
              </a:buClr>
              <a:buSzPct val="90000"/>
              <a:buFont typeface="Arial" panose="020B0604020202020204" pitchFamily="34" charset="0"/>
              <a:buChar char="•"/>
              <a:tabLst/>
            </a:pPr>
            <a:r>
              <a:rPr lang="en-US"/>
              <a:t>Click to add text</a:t>
            </a:r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D0D65DD3-5FCE-C244-AFB4-907F2A522FFF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4260969" y="2070310"/>
            <a:ext cx="3670048" cy="3805557"/>
          </a:xfrm>
          <a:prstGeom prst="rect">
            <a:avLst/>
          </a:prstGeom>
        </p:spPr>
        <p:txBody>
          <a:bodyPr anchor="t"/>
          <a:lstStyle>
            <a:lvl1pPr marL="160863" indent="-160863"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2"/>
              </a:buClr>
              <a:buSzPct val="90000"/>
              <a:buFont typeface="Arial" panose="020B0604020202020204" pitchFamily="34" charset="0"/>
              <a:buChar char="•"/>
              <a:tabLst/>
              <a:defRPr lang="en-US" sz="2133" b="0" i="0" kern="1200" baseline="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>
              <a:defRPr lang="en-US" sz="2133" b="0" i="0" kern="1200" baseline="0" dirty="0">
                <a:solidFill>
                  <a:schemeClr val="tx1">
                    <a:lumMod val="50000"/>
                  </a:schemeClr>
                </a:solidFill>
                <a:latin typeface="+mn-lt"/>
                <a:ea typeface="Helvetica Neue Thin" panose="020B0403020202020204" pitchFamily="34" charset="0"/>
                <a:cs typeface="+mn-cs"/>
              </a:defRPr>
            </a:lvl2pPr>
            <a:lvl3pPr>
              <a:defRPr sz="1400"/>
            </a:lvl3pPr>
            <a:lvl4pPr>
              <a:defRPr sz="1333"/>
            </a:lvl4pPr>
            <a:lvl5pPr>
              <a:defRPr sz="1200"/>
            </a:lvl5pPr>
          </a:lstStyle>
          <a:p>
            <a:pPr marL="160863" lvl="0" indent="-160863"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2"/>
              </a:buClr>
              <a:buSzPct val="90000"/>
              <a:buFont typeface="Arial" panose="020B0604020202020204" pitchFamily="34" charset="0"/>
              <a:buChar char="•"/>
              <a:tabLst/>
            </a:pPr>
            <a:r>
              <a:rPr lang="en-US"/>
              <a:t>Click to add text</a:t>
            </a:r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5534E609-D384-F444-9CA7-21A82D42A3C7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8138557" y="2070310"/>
            <a:ext cx="3670048" cy="3805557"/>
          </a:xfrm>
          <a:prstGeom prst="rect">
            <a:avLst/>
          </a:prstGeom>
        </p:spPr>
        <p:txBody>
          <a:bodyPr anchor="t"/>
          <a:lstStyle>
            <a:lvl1pPr marL="160863" indent="-160863"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2"/>
              </a:buClr>
              <a:buSzPct val="90000"/>
              <a:buFont typeface="Arial" panose="020B0604020202020204" pitchFamily="34" charset="0"/>
              <a:buChar char="•"/>
              <a:tabLst/>
              <a:defRPr lang="en-US" sz="2133" b="0" i="0" kern="1200" baseline="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>
              <a:defRPr lang="en-US" sz="2133" b="0" i="0" kern="1200" baseline="0" dirty="0">
                <a:solidFill>
                  <a:schemeClr val="tx1">
                    <a:lumMod val="50000"/>
                  </a:schemeClr>
                </a:solidFill>
                <a:latin typeface="+mn-lt"/>
                <a:ea typeface="Helvetica Neue Thin" panose="020B0403020202020204" pitchFamily="34" charset="0"/>
                <a:cs typeface="+mn-cs"/>
              </a:defRPr>
            </a:lvl2pPr>
            <a:lvl3pPr>
              <a:defRPr sz="1400"/>
            </a:lvl3pPr>
            <a:lvl4pPr>
              <a:defRPr sz="1333"/>
            </a:lvl4pPr>
            <a:lvl5pPr>
              <a:defRPr sz="1200"/>
            </a:lvl5pPr>
          </a:lstStyle>
          <a:p>
            <a:pPr marL="160863" lvl="0" indent="-160863"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2"/>
              </a:buClr>
              <a:buSzPct val="90000"/>
              <a:buFont typeface="Arial" panose="020B0604020202020204" pitchFamily="34" charset="0"/>
              <a:buChar char="•"/>
              <a:tabLst/>
            </a:pPr>
            <a:r>
              <a:rPr lang="en-US"/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val="2394528996"/>
      </p:ext>
    </p:extLst>
  </p:cSld>
  <p:clrMapOvr>
    <a:masterClrMapping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LUMN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CBFDDF4-0565-424E-AFE7-6000EF98D79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anchor="t"/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FD000D8D-D19B-3F45-8000-0F438AF27B8B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397861" y="3769607"/>
            <a:ext cx="11425208" cy="393763"/>
          </a:xfrm>
          <a:prstGeom prst="rect">
            <a:avLst/>
          </a:prstGeom>
          <a:solidFill>
            <a:schemeClr val="bg2"/>
          </a:solidFill>
          <a:ln w="28575">
            <a:noFill/>
            <a:miter lim="800000"/>
          </a:ln>
          <a:effectLst/>
        </p:spPr>
        <p:txBody>
          <a:bodyPr anchor="ctr" anchorCtr="0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buFontTx/>
              <a:buNone/>
              <a:defRPr lang="en-US" sz="2133" b="1" i="0" kern="1200" dirty="0">
                <a:solidFill>
                  <a:schemeClr val="bg1"/>
                </a:solidFill>
                <a:latin typeface="+mj-lt"/>
                <a:ea typeface="Helvetica Neue Thin" panose="020B0403020202020204" pitchFamily="34" charset="0"/>
                <a:cs typeface="+mn-cs"/>
              </a:defRPr>
            </a:lvl1pPr>
          </a:lstStyle>
          <a:p>
            <a:pPr marL="0" lvl="0" indent="0" algn="l" defTabSz="609585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Tx/>
              <a:buNone/>
            </a:pPr>
            <a:r>
              <a:rPr lang="en-US"/>
              <a:t>Click to add text</a:t>
            </a:r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33B66F31-FCE2-D24E-8920-EDAFECDA2F65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397861" y="1570537"/>
            <a:ext cx="5555264" cy="393763"/>
          </a:xfrm>
          <a:prstGeom prst="rect">
            <a:avLst/>
          </a:prstGeom>
          <a:solidFill>
            <a:schemeClr val="accent1"/>
          </a:solidFill>
          <a:ln w="28575">
            <a:noFill/>
            <a:miter lim="800000"/>
          </a:ln>
          <a:effectLst/>
        </p:spPr>
        <p:txBody>
          <a:bodyPr anchor="ctr" anchorCtr="0"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FontTx/>
              <a:buNone/>
              <a:defRPr sz="2133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C1ACFD88-AF70-8249-A510-E82F636415C9}"/>
              </a:ext>
            </a:extLst>
          </p:cNvPr>
          <p:cNvSpPr>
            <a:spLocks noGrp="1"/>
          </p:cNvSpPr>
          <p:nvPr>
            <p:ph idx="37" hasCustomPrompt="1"/>
          </p:nvPr>
        </p:nvSpPr>
        <p:spPr>
          <a:xfrm>
            <a:off x="397861" y="2014803"/>
            <a:ext cx="5555264" cy="1559711"/>
          </a:xfrm>
          <a:prstGeom prst="rect">
            <a:avLst/>
          </a:prstGeom>
        </p:spPr>
        <p:txBody>
          <a:bodyPr>
            <a:normAutofit/>
          </a:bodyPr>
          <a:lstStyle>
            <a:lvl1pPr marL="232828" indent="-232828">
              <a:spcBef>
                <a:spcPts val="1333"/>
              </a:spcBef>
              <a:buClr>
                <a:schemeClr val="accent2"/>
              </a:buClr>
              <a:defRPr sz="2133">
                <a:solidFill>
                  <a:schemeClr val="tx1"/>
                </a:solidFill>
              </a:defRPr>
            </a:lvl1pPr>
            <a:lvl2pPr marL="457189" indent="-152396">
              <a:spcBef>
                <a:spcPts val="667"/>
              </a:spcBef>
              <a:buClr>
                <a:schemeClr val="accent2"/>
              </a:buClr>
              <a:defRPr sz="1867">
                <a:solidFill>
                  <a:schemeClr val="tx1"/>
                </a:solidFill>
              </a:defRPr>
            </a:lvl2pPr>
            <a:lvl3pPr marL="683667" indent="-150280">
              <a:spcBef>
                <a:spcPts val="267"/>
              </a:spcBef>
              <a:buClr>
                <a:schemeClr val="accent2"/>
              </a:buClr>
              <a:defRPr sz="1867">
                <a:solidFill>
                  <a:schemeClr val="tx1"/>
                </a:solidFill>
              </a:defRPr>
            </a:lvl3pPr>
            <a:lvl4pPr marL="914377" indent="-152396">
              <a:spcBef>
                <a:spcPts val="267"/>
              </a:spcBef>
              <a:defRPr sz="1467"/>
            </a:lvl4pPr>
            <a:lvl5pPr marL="1142971" indent="-152396">
              <a:spcBef>
                <a:spcPts val="267"/>
              </a:spcBef>
              <a:defRPr sz="1400"/>
            </a:lvl5pPr>
          </a:lstStyle>
          <a:p>
            <a:pPr lvl="0"/>
            <a:r>
              <a:rPr lang="en-US"/>
              <a:t>Click to add text or click icon to add content</a:t>
            </a:r>
          </a:p>
          <a:p>
            <a:pPr lvl="1"/>
            <a:r>
              <a:rPr lang="en-US"/>
              <a:t> First level bullet</a:t>
            </a:r>
          </a:p>
          <a:p>
            <a:pPr lvl="2"/>
            <a:r>
              <a:rPr lang="en-US"/>
              <a:t>Second level bullet</a:t>
            </a:r>
          </a:p>
          <a:p>
            <a:pPr lvl="2"/>
            <a:endParaRPr lang="en-US"/>
          </a:p>
        </p:txBody>
      </p:sp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AB131A16-0ACA-4445-8C94-D58F1936C336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253341" y="1570537"/>
            <a:ext cx="5555264" cy="393763"/>
          </a:xfrm>
          <a:prstGeom prst="rect">
            <a:avLst/>
          </a:prstGeom>
          <a:solidFill>
            <a:schemeClr val="accent2"/>
          </a:solidFill>
          <a:ln w="28575">
            <a:noFill/>
            <a:miter lim="800000"/>
          </a:ln>
          <a:effectLst/>
        </p:spPr>
        <p:txBody>
          <a:bodyPr anchor="ctr" anchorCtr="0"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FontTx/>
              <a:buNone/>
              <a:defRPr lang="en-US" sz="2133" b="1" i="0" kern="1200" dirty="0">
                <a:solidFill>
                  <a:schemeClr val="bg1"/>
                </a:solidFill>
                <a:latin typeface="+mj-lt"/>
                <a:ea typeface="Helvetica Neue Thin" panose="020B0403020202020204" pitchFamily="34" charset="0"/>
                <a:cs typeface="+mn-cs"/>
              </a:defRPr>
            </a:lvl1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C227A141-2A03-E247-B8A5-743A9093F0F0}"/>
              </a:ext>
            </a:extLst>
          </p:cNvPr>
          <p:cNvSpPr>
            <a:spLocks noGrp="1"/>
          </p:cNvSpPr>
          <p:nvPr>
            <p:ph idx="46" hasCustomPrompt="1"/>
          </p:nvPr>
        </p:nvSpPr>
        <p:spPr>
          <a:xfrm>
            <a:off x="6253341" y="2014803"/>
            <a:ext cx="5555264" cy="1559711"/>
          </a:xfrm>
          <a:prstGeom prst="rect">
            <a:avLst/>
          </a:prstGeom>
        </p:spPr>
        <p:txBody>
          <a:bodyPr/>
          <a:lstStyle>
            <a:lvl1pPr marL="228594" indent="-228594" algn="l" defTabSz="609585" rtl="0" eaLnBrk="1" latinLnBrk="0" hangingPunct="1">
              <a:lnSpc>
                <a:spcPct val="100000"/>
              </a:lnSpc>
              <a:spcBef>
                <a:spcPts val="1333"/>
              </a:spcBef>
              <a:spcAft>
                <a:spcPts val="0"/>
              </a:spcAft>
              <a:buClr>
                <a:schemeClr val="accent2"/>
              </a:buClr>
              <a:defRPr lang="en-US" sz="2133" b="0" i="0" kern="120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457189" indent="-152396" algn="l" defTabSz="609585" rtl="0" eaLnBrk="1" latinLnBrk="0" hangingPunct="1">
              <a:lnSpc>
                <a:spcPct val="100000"/>
              </a:lnSpc>
              <a:spcBef>
                <a:spcPts val="667"/>
              </a:spcBef>
              <a:spcAft>
                <a:spcPts val="0"/>
              </a:spcAft>
              <a:buClr>
                <a:schemeClr val="accent2"/>
              </a:buClr>
              <a:defRPr lang="en-US" sz="1867" b="0" i="0" kern="120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2pPr>
            <a:lvl3pPr marL="687900" indent="-154513" algn="l" defTabSz="609585" rtl="0" eaLnBrk="1" latinLnBrk="0" hangingPunct="1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Clr>
                <a:schemeClr val="accent2"/>
              </a:buClr>
              <a:defRPr lang="en-US" sz="1867" b="0" i="0" kern="120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3pPr>
            <a:lvl4pPr marL="918610" indent="-156629">
              <a:spcBef>
                <a:spcPts val="267"/>
              </a:spcBef>
              <a:defRPr sz="1467"/>
            </a:lvl4pPr>
            <a:lvl5pPr marL="1138738" indent="-146047">
              <a:spcBef>
                <a:spcPts val="267"/>
              </a:spcBef>
              <a:defRPr sz="1400"/>
            </a:lvl5pPr>
          </a:lstStyle>
          <a:p>
            <a:pPr lvl="0"/>
            <a:r>
              <a:rPr lang="en-US"/>
              <a:t>Click to add text or click icon to add content</a:t>
            </a:r>
          </a:p>
          <a:p>
            <a:pPr lvl="1"/>
            <a:r>
              <a:rPr lang="en-US"/>
              <a:t> First level bullet</a:t>
            </a:r>
          </a:p>
          <a:p>
            <a:pPr lvl="2"/>
            <a:r>
              <a:rPr lang="en-US"/>
              <a:t>Second level bullet</a:t>
            </a:r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8704BB93-6342-A043-8C9F-67F3F41B6BDA}"/>
              </a:ext>
            </a:extLst>
          </p:cNvPr>
          <p:cNvSpPr>
            <a:spLocks noGrp="1"/>
          </p:cNvSpPr>
          <p:nvPr>
            <p:ph idx="47" hasCustomPrompt="1"/>
          </p:nvPr>
        </p:nvSpPr>
        <p:spPr>
          <a:xfrm>
            <a:off x="397861" y="4221458"/>
            <a:ext cx="11425209" cy="1654409"/>
          </a:xfrm>
          <a:prstGeom prst="rect">
            <a:avLst/>
          </a:prstGeom>
        </p:spPr>
        <p:txBody>
          <a:bodyPr>
            <a:normAutofit/>
          </a:bodyPr>
          <a:lstStyle>
            <a:lvl1pPr marL="228594" indent="-228594" algn="l" defTabSz="609585" rtl="0" eaLnBrk="1" latinLnBrk="0" hangingPunct="1">
              <a:lnSpc>
                <a:spcPct val="100000"/>
              </a:lnSpc>
              <a:spcBef>
                <a:spcPts val="1333"/>
              </a:spcBef>
              <a:spcAft>
                <a:spcPts val="0"/>
              </a:spcAft>
              <a:buClr>
                <a:schemeClr val="accent2"/>
              </a:buClr>
              <a:defRPr lang="en-US" sz="2133" b="0" i="0" kern="120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457189" indent="-152396" algn="l" defTabSz="609585" rtl="0" eaLnBrk="1" latinLnBrk="0" hangingPunct="1">
              <a:lnSpc>
                <a:spcPct val="100000"/>
              </a:lnSpc>
              <a:spcBef>
                <a:spcPts val="667"/>
              </a:spcBef>
              <a:spcAft>
                <a:spcPts val="0"/>
              </a:spcAft>
              <a:buClr>
                <a:schemeClr val="accent2"/>
              </a:buClr>
              <a:defRPr lang="en-US" sz="1867" b="0" i="0" kern="120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2pPr>
            <a:lvl3pPr marL="687900" indent="-154513" algn="l" defTabSz="609585" rtl="0" eaLnBrk="1" latinLnBrk="0" hangingPunct="1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Clr>
                <a:schemeClr val="accent2"/>
              </a:buClr>
              <a:defRPr lang="en-US" sz="1867" b="0" i="0" kern="120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3pPr>
            <a:lvl4pPr marL="918610" indent="-156629">
              <a:spcBef>
                <a:spcPts val="267"/>
              </a:spcBef>
              <a:defRPr sz="1467"/>
            </a:lvl4pPr>
            <a:lvl5pPr marL="1138738" indent="-146047">
              <a:spcBef>
                <a:spcPts val="267"/>
              </a:spcBef>
              <a:defRPr sz="1400"/>
            </a:lvl5pPr>
          </a:lstStyle>
          <a:p>
            <a:pPr lvl="0"/>
            <a:r>
              <a:rPr lang="en-US"/>
              <a:t>Click to add text or click icon to add content</a:t>
            </a:r>
          </a:p>
          <a:p>
            <a:pPr lvl="1"/>
            <a:r>
              <a:rPr lang="en-US"/>
              <a:t> First level bullet</a:t>
            </a:r>
          </a:p>
          <a:p>
            <a:pPr lvl="2"/>
            <a:r>
              <a:rPr lang="en-US"/>
              <a:t>Second level bullet</a:t>
            </a:r>
          </a:p>
          <a:p>
            <a:pPr lvl="2"/>
            <a:endParaRPr lang="en-US"/>
          </a:p>
        </p:txBody>
      </p:sp>
      <p:sp>
        <p:nvSpPr>
          <p:cNvPr id="17" name="Slide Number Placeholder 2">
            <a:extLst>
              <a:ext uri="{FF2B5EF4-FFF2-40B4-BE49-F238E27FC236}">
                <a16:creationId xmlns:a16="http://schemas.microsoft.com/office/drawing/2014/main" id="{55D445D5-F95E-0D4B-A1F3-2F887585504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bg1"/>
                </a:solidFill>
              </a:defRPr>
            </a:lvl1pPr>
          </a:lstStyle>
          <a:p>
            <a:fld id="{F531C153-56E2-4D58-BF8C-84423A751AD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38129463"/>
      </p:ext>
    </p:extLst>
  </p:cSld>
  <p:clrMapOvr>
    <a:masterClrMapping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 COLUMN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CBFDDF4-0565-424E-AFE7-6000EF98D79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anchor="t"/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FD000D8D-D19B-3F45-8000-0F438AF27B8B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397861" y="3769607"/>
            <a:ext cx="5555264" cy="393763"/>
          </a:xfrm>
          <a:prstGeom prst="rect">
            <a:avLst/>
          </a:prstGeom>
          <a:solidFill>
            <a:schemeClr val="tx2"/>
          </a:solidFill>
          <a:ln w="28575">
            <a:noFill/>
            <a:miter lim="800000"/>
          </a:ln>
          <a:effectLst/>
        </p:spPr>
        <p:txBody>
          <a:bodyPr anchor="ctr" anchorCtr="0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buFontTx/>
              <a:buNone/>
              <a:defRPr lang="en-US" sz="2133" b="1" i="0" kern="1200" dirty="0">
                <a:solidFill>
                  <a:schemeClr val="bg1"/>
                </a:solidFill>
                <a:latin typeface="+mj-lt"/>
                <a:ea typeface="Helvetica Neue Thin" panose="020B0403020202020204" pitchFamily="34" charset="0"/>
                <a:cs typeface="+mn-cs"/>
              </a:defRPr>
            </a:lvl1pPr>
          </a:lstStyle>
          <a:p>
            <a:pPr marL="0" lvl="0" indent="0" algn="l" defTabSz="609585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Tx/>
              <a:buNone/>
            </a:pPr>
            <a:r>
              <a:rPr lang="en-US"/>
              <a:t>Click to add text</a:t>
            </a:r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33B66F31-FCE2-D24E-8920-EDAFECDA2F65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397861" y="1570537"/>
            <a:ext cx="5555264" cy="393763"/>
          </a:xfrm>
          <a:prstGeom prst="rect">
            <a:avLst/>
          </a:prstGeom>
          <a:solidFill>
            <a:schemeClr val="accent1"/>
          </a:solidFill>
          <a:ln w="28575">
            <a:noFill/>
            <a:miter lim="800000"/>
          </a:ln>
          <a:effectLst/>
        </p:spPr>
        <p:txBody>
          <a:bodyPr anchor="ctr" anchorCtr="0"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FontTx/>
              <a:buNone/>
              <a:defRPr sz="2133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AB131A16-0ACA-4445-8C94-D58F1936C336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253341" y="1570537"/>
            <a:ext cx="5555264" cy="393763"/>
          </a:xfrm>
          <a:prstGeom prst="rect">
            <a:avLst/>
          </a:prstGeom>
          <a:solidFill>
            <a:schemeClr val="accent2"/>
          </a:solidFill>
          <a:ln w="28575">
            <a:noFill/>
            <a:miter lim="800000"/>
          </a:ln>
          <a:effectLst/>
        </p:spPr>
        <p:txBody>
          <a:bodyPr anchor="ctr" anchorCtr="0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buFontTx/>
              <a:buNone/>
              <a:defRPr lang="en-US" sz="2133" b="1" i="0" kern="1200" dirty="0">
                <a:solidFill>
                  <a:schemeClr val="bg1"/>
                </a:solidFill>
                <a:latin typeface="+mj-lt"/>
                <a:ea typeface="Helvetica Neue Thin" panose="020B0403020202020204" pitchFamily="34" charset="0"/>
                <a:cs typeface="+mn-cs"/>
              </a:defRPr>
            </a:lvl1pPr>
          </a:lstStyle>
          <a:p>
            <a:pPr marL="0" lvl="0" indent="0" algn="l" defTabSz="609585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Tx/>
              <a:buNone/>
            </a:pPr>
            <a:r>
              <a:rPr lang="en-US"/>
              <a:t>Click to add text</a:t>
            </a:r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BB168D0B-DE5F-9741-BECB-30DAE4463D1A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6253341" y="3769607"/>
            <a:ext cx="5555264" cy="393763"/>
          </a:xfrm>
          <a:prstGeom prst="rect">
            <a:avLst/>
          </a:prstGeom>
          <a:solidFill>
            <a:schemeClr val="accent3"/>
          </a:solidFill>
          <a:ln w="28575">
            <a:noFill/>
            <a:miter lim="800000"/>
          </a:ln>
          <a:effectLst/>
        </p:spPr>
        <p:txBody>
          <a:bodyPr anchor="ctr" anchorCtr="0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buFontTx/>
              <a:buNone/>
              <a:defRPr lang="en-US" sz="2133" b="1" i="0" kern="1200" dirty="0">
                <a:solidFill>
                  <a:schemeClr val="bg1"/>
                </a:solidFill>
                <a:latin typeface="+mj-lt"/>
                <a:ea typeface="Helvetica Neue Thin" panose="020B0403020202020204" pitchFamily="34" charset="0"/>
                <a:cs typeface="+mn-cs"/>
              </a:defRPr>
            </a:lvl1pPr>
          </a:lstStyle>
          <a:p>
            <a:pPr marL="0" lvl="0" indent="0" algn="l" defTabSz="609585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Tx/>
              <a:buNone/>
            </a:pPr>
            <a:r>
              <a:rPr lang="en-US"/>
              <a:t>Click to add text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C227A141-2A03-E247-B8A5-743A9093F0F0}"/>
              </a:ext>
            </a:extLst>
          </p:cNvPr>
          <p:cNvSpPr>
            <a:spLocks noGrp="1"/>
          </p:cNvSpPr>
          <p:nvPr>
            <p:ph idx="46" hasCustomPrompt="1"/>
          </p:nvPr>
        </p:nvSpPr>
        <p:spPr>
          <a:xfrm>
            <a:off x="6253341" y="2014803"/>
            <a:ext cx="5555264" cy="1559711"/>
          </a:xfrm>
          <a:prstGeom prst="rect">
            <a:avLst/>
          </a:prstGeom>
        </p:spPr>
        <p:txBody>
          <a:bodyPr>
            <a:normAutofit/>
          </a:bodyPr>
          <a:lstStyle>
            <a:lvl1pPr marL="228594" indent="-228594" algn="l" defTabSz="609585" rtl="0" eaLnBrk="1" latinLnBrk="0" hangingPunct="1">
              <a:lnSpc>
                <a:spcPct val="100000"/>
              </a:lnSpc>
              <a:spcBef>
                <a:spcPts val="1333"/>
              </a:spcBef>
              <a:spcAft>
                <a:spcPts val="0"/>
              </a:spcAft>
              <a:buClr>
                <a:schemeClr val="accent2"/>
              </a:buClr>
              <a:defRPr lang="en-US" sz="2133" b="0" i="0" kern="120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457189" indent="-152396" algn="l" defTabSz="609585" rtl="0" eaLnBrk="1" latinLnBrk="0" hangingPunct="1">
              <a:lnSpc>
                <a:spcPct val="100000"/>
              </a:lnSpc>
              <a:spcBef>
                <a:spcPts val="667"/>
              </a:spcBef>
              <a:spcAft>
                <a:spcPts val="0"/>
              </a:spcAft>
              <a:buClr>
                <a:schemeClr val="accent2"/>
              </a:buClr>
              <a:buSzPct val="90000"/>
              <a:tabLst/>
              <a:defRPr lang="en-US" sz="1867" b="0" i="0" kern="120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2pPr>
            <a:lvl3pPr marL="687900" indent="-154513" algn="l" defTabSz="609585" rtl="0" eaLnBrk="1" latinLnBrk="0" hangingPunct="1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Clr>
                <a:schemeClr val="accent2"/>
              </a:buClr>
              <a:buSzPct val="90000"/>
              <a:tabLst/>
              <a:defRPr lang="en-US" sz="1867" b="0" i="0" kern="120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3pPr>
            <a:lvl4pPr marL="918610" indent="-156629">
              <a:spcBef>
                <a:spcPts val="267"/>
              </a:spcBef>
              <a:defRPr sz="1467"/>
            </a:lvl4pPr>
            <a:lvl5pPr marL="1138738" indent="-146047">
              <a:spcBef>
                <a:spcPts val="267"/>
              </a:spcBef>
              <a:defRPr sz="1400"/>
            </a:lvl5pPr>
          </a:lstStyle>
          <a:p>
            <a:pPr lvl="0"/>
            <a:r>
              <a:rPr lang="en-US"/>
              <a:t>Click to add text or click icon to add content</a:t>
            </a:r>
          </a:p>
          <a:p>
            <a:pPr lvl="1"/>
            <a:r>
              <a:rPr lang="en-US"/>
              <a:t> First level bullet</a:t>
            </a:r>
          </a:p>
          <a:p>
            <a:pPr lvl="2"/>
            <a:r>
              <a:rPr lang="en-US"/>
              <a:t>Second level bullet</a:t>
            </a:r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8704BB93-6342-A043-8C9F-67F3F41B6BDA}"/>
              </a:ext>
            </a:extLst>
          </p:cNvPr>
          <p:cNvSpPr>
            <a:spLocks noGrp="1"/>
          </p:cNvSpPr>
          <p:nvPr>
            <p:ph idx="47" hasCustomPrompt="1"/>
          </p:nvPr>
        </p:nvSpPr>
        <p:spPr>
          <a:xfrm>
            <a:off x="397861" y="4221458"/>
            <a:ext cx="5555264" cy="1654409"/>
          </a:xfrm>
          <a:prstGeom prst="rect">
            <a:avLst/>
          </a:prstGeom>
        </p:spPr>
        <p:txBody>
          <a:bodyPr/>
          <a:lstStyle>
            <a:lvl1pPr marL="228594" indent="-228594" algn="l" defTabSz="609585" rtl="0" eaLnBrk="1" latinLnBrk="0" hangingPunct="1">
              <a:lnSpc>
                <a:spcPct val="100000"/>
              </a:lnSpc>
              <a:spcBef>
                <a:spcPts val="1333"/>
              </a:spcBef>
              <a:spcAft>
                <a:spcPts val="0"/>
              </a:spcAft>
              <a:buClr>
                <a:schemeClr val="accent2"/>
              </a:buClr>
              <a:defRPr lang="en-US" sz="2133" b="0" i="0" kern="120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457189" indent="-152396" algn="l" defTabSz="609585" rtl="0" eaLnBrk="1" latinLnBrk="0" hangingPunct="1">
              <a:lnSpc>
                <a:spcPct val="100000"/>
              </a:lnSpc>
              <a:spcBef>
                <a:spcPts val="667"/>
              </a:spcBef>
              <a:spcAft>
                <a:spcPts val="0"/>
              </a:spcAft>
              <a:buClr>
                <a:schemeClr val="accent2"/>
              </a:buClr>
              <a:buSzPct val="90000"/>
              <a:tabLst/>
              <a:defRPr lang="en-US" sz="1867" b="0" i="0" kern="120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2pPr>
            <a:lvl3pPr marL="687900" indent="-154513" algn="l" defTabSz="609585" rtl="0" eaLnBrk="1" latinLnBrk="0" hangingPunct="1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Clr>
                <a:schemeClr val="accent2"/>
              </a:buClr>
              <a:buSzPct val="90000"/>
              <a:tabLst/>
              <a:defRPr lang="en-US" sz="1867" b="0" i="0" kern="120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3pPr>
            <a:lvl4pPr marL="918610" indent="-156629">
              <a:spcBef>
                <a:spcPts val="267"/>
              </a:spcBef>
              <a:defRPr sz="1467"/>
            </a:lvl4pPr>
            <a:lvl5pPr marL="1138738" indent="-146047">
              <a:spcBef>
                <a:spcPts val="267"/>
              </a:spcBef>
              <a:defRPr sz="1400"/>
            </a:lvl5pPr>
          </a:lstStyle>
          <a:p>
            <a:pPr lvl="0"/>
            <a:r>
              <a:rPr lang="en-US"/>
              <a:t>Click to add text or click icon to add content</a:t>
            </a:r>
          </a:p>
          <a:p>
            <a:pPr lvl="1"/>
            <a:r>
              <a:rPr lang="en-US"/>
              <a:t> First level bullet</a:t>
            </a:r>
          </a:p>
          <a:p>
            <a:pPr lvl="2"/>
            <a:r>
              <a:rPr lang="en-US"/>
              <a:t>Second level bullet</a:t>
            </a:r>
          </a:p>
          <a:p>
            <a:pPr lvl="2"/>
            <a:endParaRPr lang="en-US"/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953D7A5A-AF27-D848-8B02-4FDEEE6D49BC}"/>
              </a:ext>
            </a:extLst>
          </p:cNvPr>
          <p:cNvSpPr>
            <a:spLocks noGrp="1"/>
          </p:cNvSpPr>
          <p:nvPr>
            <p:ph idx="48" hasCustomPrompt="1"/>
          </p:nvPr>
        </p:nvSpPr>
        <p:spPr>
          <a:xfrm>
            <a:off x="6253341" y="4221458"/>
            <a:ext cx="5555264" cy="1654409"/>
          </a:xfrm>
          <a:prstGeom prst="rect">
            <a:avLst/>
          </a:prstGeom>
        </p:spPr>
        <p:txBody>
          <a:bodyPr/>
          <a:lstStyle>
            <a:lvl1pPr marL="228594" indent="-228594" algn="l" defTabSz="609585" rtl="0" eaLnBrk="1" latinLnBrk="0" hangingPunct="1">
              <a:lnSpc>
                <a:spcPct val="100000"/>
              </a:lnSpc>
              <a:spcBef>
                <a:spcPts val="1333"/>
              </a:spcBef>
              <a:spcAft>
                <a:spcPts val="0"/>
              </a:spcAft>
              <a:buClr>
                <a:schemeClr val="accent2"/>
              </a:buClr>
              <a:defRPr lang="en-US" sz="2133" b="0" i="0" kern="1200" dirty="0" smtClean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533387" indent="-228594" algn="l" defTabSz="609585" rtl="0" eaLnBrk="1" latinLnBrk="0" hangingPunct="1">
              <a:lnSpc>
                <a:spcPct val="100000"/>
              </a:lnSpc>
              <a:spcBef>
                <a:spcPts val="667"/>
              </a:spcBef>
              <a:spcAft>
                <a:spcPts val="0"/>
              </a:spcAft>
              <a:buClr>
                <a:schemeClr val="accent2"/>
              </a:buClr>
              <a:buSzPct val="90000"/>
              <a:buFont typeface="Arial" panose="020B0604020202020204" pitchFamily="34" charset="0"/>
              <a:buChar char="•"/>
              <a:tabLst/>
              <a:defRPr lang="en-US" sz="1867" b="0" i="0" kern="1200" dirty="0" smtClean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2pPr>
            <a:lvl3pPr marL="687900" indent="-154513" algn="l" defTabSz="609585" rtl="0" eaLnBrk="1" latinLnBrk="0" hangingPunct="1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Clr>
                <a:schemeClr val="accent2"/>
              </a:buClr>
              <a:buSzPct val="90000"/>
              <a:tabLst/>
              <a:defRPr lang="en-US" sz="1867" b="0" i="0" kern="1200" dirty="0" smtClean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3pPr>
            <a:lvl4pPr marL="918610" indent="-156629">
              <a:spcBef>
                <a:spcPts val="267"/>
              </a:spcBef>
              <a:defRPr sz="1467"/>
            </a:lvl4pPr>
            <a:lvl5pPr marL="1138738" indent="-146047">
              <a:spcBef>
                <a:spcPts val="267"/>
              </a:spcBef>
              <a:defRPr sz="1400"/>
            </a:lvl5pPr>
          </a:lstStyle>
          <a:p>
            <a:pPr lvl="0"/>
            <a:r>
              <a:rPr lang="en-US"/>
              <a:t>Click to add text or click icon to add content</a:t>
            </a:r>
          </a:p>
          <a:p>
            <a:pPr lvl="1"/>
            <a:r>
              <a:rPr lang="en-US"/>
              <a:t> First level bullet</a:t>
            </a:r>
          </a:p>
          <a:p>
            <a:pPr lvl="2"/>
            <a:r>
              <a:rPr lang="en-US"/>
              <a:t>Second level bullet</a:t>
            </a:r>
          </a:p>
          <a:p>
            <a:pPr lvl="0"/>
            <a:endParaRPr lang="en-US"/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BFBB9B97-9F33-BF40-A363-D7EE7ED79A5E}"/>
              </a:ext>
            </a:extLst>
          </p:cNvPr>
          <p:cNvSpPr>
            <a:spLocks noGrp="1"/>
          </p:cNvSpPr>
          <p:nvPr>
            <p:ph idx="50" hasCustomPrompt="1"/>
          </p:nvPr>
        </p:nvSpPr>
        <p:spPr>
          <a:xfrm>
            <a:off x="397861" y="2014802"/>
            <a:ext cx="5555264" cy="1559711"/>
          </a:xfrm>
          <a:prstGeom prst="rect">
            <a:avLst/>
          </a:prstGeom>
        </p:spPr>
        <p:txBody>
          <a:bodyPr>
            <a:normAutofit/>
          </a:bodyPr>
          <a:lstStyle>
            <a:lvl1pPr marL="228594" indent="-228594" algn="l" defTabSz="609585" rtl="0" eaLnBrk="1" latinLnBrk="0" hangingPunct="1">
              <a:lnSpc>
                <a:spcPct val="100000"/>
              </a:lnSpc>
              <a:spcBef>
                <a:spcPts val="1333"/>
              </a:spcBef>
              <a:spcAft>
                <a:spcPts val="0"/>
              </a:spcAft>
              <a:buClr>
                <a:schemeClr val="accent2"/>
              </a:buClr>
              <a:defRPr lang="en-US" sz="2133" b="0" i="0" kern="1200" dirty="0" smtClean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457189" indent="-152396" algn="l" defTabSz="609585" rtl="0" eaLnBrk="1" latinLnBrk="0" hangingPunct="1">
              <a:lnSpc>
                <a:spcPct val="100000"/>
              </a:lnSpc>
              <a:spcBef>
                <a:spcPts val="667"/>
              </a:spcBef>
              <a:spcAft>
                <a:spcPts val="0"/>
              </a:spcAft>
              <a:buClr>
                <a:schemeClr val="accent2"/>
              </a:buClr>
              <a:buSzPct val="90000"/>
              <a:tabLst/>
              <a:defRPr lang="en-US" sz="1867" b="0" i="0" kern="1200" dirty="0" smtClean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2pPr>
            <a:lvl3pPr marL="687900" indent="-154513" algn="l" defTabSz="609585" rtl="0" eaLnBrk="1" latinLnBrk="0" hangingPunct="1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Clr>
                <a:schemeClr val="accent2"/>
              </a:buClr>
              <a:buSzPct val="90000"/>
              <a:tabLst/>
              <a:defRPr lang="en-US" sz="1867" b="0" i="0" kern="120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3pPr>
            <a:lvl4pPr marL="918610" indent="-156629">
              <a:spcBef>
                <a:spcPts val="267"/>
              </a:spcBef>
              <a:defRPr sz="1467"/>
            </a:lvl4pPr>
            <a:lvl5pPr marL="1138738" indent="-146047">
              <a:spcBef>
                <a:spcPts val="267"/>
              </a:spcBef>
              <a:defRPr sz="1400"/>
            </a:lvl5pPr>
          </a:lstStyle>
          <a:p>
            <a:pPr lvl="0"/>
            <a:r>
              <a:rPr lang="en-US"/>
              <a:t>Click to add text or click icon to add content</a:t>
            </a:r>
          </a:p>
          <a:p>
            <a:pPr lvl="1"/>
            <a:r>
              <a:rPr lang="en-US"/>
              <a:t> First level bullet</a:t>
            </a:r>
          </a:p>
          <a:p>
            <a:pPr lvl="2"/>
            <a:r>
              <a:rPr lang="en-US"/>
              <a:t>Second level bullet</a:t>
            </a:r>
          </a:p>
        </p:txBody>
      </p:sp>
      <p:sp>
        <p:nvSpPr>
          <p:cNvPr id="18" name="Slide Number Placeholder 2">
            <a:extLst>
              <a:ext uri="{FF2B5EF4-FFF2-40B4-BE49-F238E27FC236}">
                <a16:creationId xmlns:a16="http://schemas.microsoft.com/office/drawing/2014/main" id="{01C0D9B6-7D8A-0944-B948-691B37BEA11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bg1"/>
                </a:solidFill>
              </a:defRPr>
            </a:lvl1pPr>
          </a:lstStyle>
          <a:p>
            <a:fld id="{F531C153-56E2-4D58-BF8C-84423A751AD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59978323"/>
      </p:ext>
    </p:extLst>
  </p:cSld>
  <p:clrMapOvr>
    <a:masterClrMapping/>
  </p:clrMapOvr>
  <p:transition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 COLUMN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Text Placeholder 7">
            <a:extLst>
              <a:ext uri="{FF2B5EF4-FFF2-40B4-BE49-F238E27FC236}">
                <a16:creationId xmlns:a16="http://schemas.microsoft.com/office/drawing/2014/main" id="{C3C96CC7-5220-1D4C-844C-81E2F6ECEFAC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9116568" y="1433576"/>
            <a:ext cx="2694432" cy="4535424"/>
          </a:xfrm>
          <a:prstGeom prst="rect">
            <a:avLst/>
          </a:prstGeom>
          <a:solidFill>
            <a:schemeClr val="accent2"/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2400" b="1">
                <a:solidFill>
                  <a:schemeClr val="bg1"/>
                </a:solidFill>
              </a:defRPr>
            </a:lvl1pPr>
            <a:lvl2pPr marL="0" indent="0">
              <a:buNone/>
              <a:defRPr>
                <a:solidFill>
                  <a:schemeClr val="bg1"/>
                </a:solidFill>
              </a:defRPr>
            </a:lvl2pPr>
            <a:lvl3pPr marL="311143" indent="0">
              <a:buNone/>
              <a:defRPr>
                <a:solidFill>
                  <a:schemeClr val="bg1"/>
                </a:solidFill>
              </a:defRPr>
            </a:lvl3pPr>
          </a:lstStyle>
          <a:p>
            <a:pPr lvl="0"/>
            <a:r>
              <a:rPr lang="en-US"/>
              <a:t>Click to add text</a:t>
            </a:r>
          </a:p>
          <a:p>
            <a:pPr lvl="0"/>
            <a:endParaRPr lang="en-US"/>
          </a:p>
        </p:txBody>
      </p:sp>
      <p:sp>
        <p:nvSpPr>
          <p:cNvPr id="38" name="Text Placeholder 4">
            <a:extLst>
              <a:ext uri="{FF2B5EF4-FFF2-40B4-BE49-F238E27FC236}">
                <a16:creationId xmlns:a16="http://schemas.microsoft.com/office/drawing/2014/main" id="{FD27E3C1-22E5-6D46-AAF6-C9A20BCCDC56}"/>
              </a:ext>
            </a:extLst>
          </p:cNvPr>
          <p:cNvSpPr>
            <a:spLocks noGrp="1"/>
          </p:cNvSpPr>
          <p:nvPr>
            <p:ph type="body" sz="quarter" idx="49"/>
          </p:nvPr>
        </p:nvSpPr>
        <p:spPr>
          <a:xfrm>
            <a:off x="9108437" y="1900358"/>
            <a:ext cx="2702563" cy="4062841"/>
          </a:xfrm>
          <a:prstGeom prst="rect">
            <a:avLst/>
          </a:prstGeom>
        </p:spPr>
        <p:txBody>
          <a:bodyPr/>
          <a:lstStyle>
            <a:lvl1pPr marL="228594" indent="-228594">
              <a:buClr>
                <a:schemeClr val="bg1"/>
              </a:buClr>
              <a:buFont typeface="Arial" panose="020B0604020202020204" pitchFamily="34" charset="0"/>
              <a:buChar char="•"/>
              <a:defRPr sz="1867">
                <a:solidFill>
                  <a:schemeClr val="bg1"/>
                </a:solidFill>
              </a:defRPr>
            </a:lvl1pPr>
            <a:lvl2pPr>
              <a:defRPr sz="1467"/>
            </a:lvl2pPr>
            <a:lvl3pPr>
              <a:defRPr sz="1400"/>
            </a:lvl3pPr>
            <a:lvl4pPr>
              <a:defRPr sz="1333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3" name="Text Placeholder 7">
            <a:extLst>
              <a:ext uri="{FF2B5EF4-FFF2-40B4-BE49-F238E27FC236}">
                <a16:creationId xmlns:a16="http://schemas.microsoft.com/office/drawing/2014/main" id="{532BFC33-E028-EC4D-927F-9A20A6B3CD65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6223187" y="1433576"/>
            <a:ext cx="2694432" cy="4535424"/>
          </a:xfrm>
          <a:prstGeom prst="rect">
            <a:avLst/>
          </a:prstGeom>
          <a:solidFill>
            <a:schemeClr val="accent1"/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2400" b="1">
                <a:solidFill>
                  <a:schemeClr val="bg1"/>
                </a:solidFill>
              </a:defRPr>
            </a:lvl1pPr>
            <a:lvl2pPr marL="0" indent="0">
              <a:buNone/>
              <a:defRPr>
                <a:solidFill>
                  <a:schemeClr val="bg1"/>
                </a:solidFill>
              </a:defRPr>
            </a:lvl2pPr>
            <a:lvl3pPr marL="311143" indent="0">
              <a:buNone/>
              <a:defRPr>
                <a:solidFill>
                  <a:schemeClr val="bg1"/>
                </a:solidFill>
              </a:defRPr>
            </a:lvl3pPr>
          </a:lstStyle>
          <a:p>
            <a:pPr lvl="0"/>
            <a:r>
              <a:rPr lang="en-US"/>
              <a:t>Click to add text</a:t>
            </a:r>
          </a:p>
          <a:p>
            <a:pPr lvl="0"/>
            <a:endParaRPr lang="en-US"/>
          </a:p>
        </p:txBody>
      </p:sp>
      <p:sp>
        <p:nvSpPr>
          <p:cNvPr id="37" name="Text Placeholder 4">
            <a:extLst>
              <a:ext uri="{FF2B5EF4-FFF2-40B4-BE49-F238E27FC236}">
                <a16:creationId xmlns:a16="http://schemas.microsoft.com/office/drawing/2014/main" id="{2A271686-1945-9447-BF2D-0388A3D38400}"/>
              </a:ext>
            </a:extLst>
          </p:cNvPr>
          <p:cNvSpPr>
            <a:spLocks noGrp="1"/>
          </p:cNvSpPr>
          <p:nvPr>
            <p:ph type="body" sz="quarter" idx="48"/>
          </p:nvPr>
        </p:nvSpPr>
        <p:spPr>
          <a:xfrm>
            <a:off x="6215056" y="1900358"/>
            <a:ext cx="2702563" cy="4062841"/>
          </a:xfrm>
          <a:prstGeom prst="rect">
            <a:avLst/>
          </a:prstGeom>
        </p:spPr>
        <p:txBody>
          <a:bodyPr/>
          <a:lstStyle>
            <a:lvl1pPr marL="228594" indent="-228594">
              <a:buClr>
                <a:schemeClr val="bg1"/>
              </a:buClr>
              <a:buFont typeface="Arial" panose="020B0604020202020204" pitchFamily="34" charset="0"/>
              <a:buChar char="•"/>
              <a:defRPr sz="1867">
                <a:solidFill>
                  <a:schemeClr val="bg1"/>
                </a:solidFill>
              </a:defRPr>
            </a:lvl1pPr>
            <a:lvl2pPr>
              <a:defRPr sz="1467"/>
            </a:lvl2pPr>
            <a:lvl3pPr>
              <a:defRPr sz="1400"/>
            </a:lvl3pPr>
            <a:lvl4pPr>
              <a:defRPr sz="1333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1" name="Text Placeholder 7">
            <a:extLst>
              <a:ext uri="{FF2B5EF4-FFF2-40B4-BE49-F238E27FC236}">
                <a16:creationId xmlns:a16="http://schemas.microsoft.com/office/drawing/2014/main" id="{86C0DC0B-7EA6-624D-998E-97D8FE6A8374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363731" y="1433576"/>
            <a:ext cx="2694432" cy="4535424"/>
          </a:xfrm>
          <a:prstGeom prst="rect">
            <a:avLst/>
          </a:prstGeom>
          <a:solidFill>
            <a:schemeClr val="bg2"/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2400" b="1">
                <a:solidFill>
                  <a:schemeClr val="bg1"/>
                </a:solidFill>
              </a:defRPr>
            </a:lvl1pPr>
            <a:lvl2pPr marL="0" indent="0">
              <a:buNone/>
              <a:defRPr>
                <a:solidFill>
                  <a:schemeClr val="bg1"/>
                </a:solidFill>
              </a:defRPr>
            </a:lvl2pPr>
            <a:lvl3pPr marL="311143" indent="0">
              <a:buNone/>
              <a:defRPr>
                <a:solidFill>
                  <a:schemeClr val="bg1"/>
                </a:solidFill>
              </a:defRPr>
            </a:lvl3pPr>
          </a:lstStyle>
          <a:p>
            <a:pPr lvl="0"/>
            <a:r>
              <a:rPr lang="en-US"/>
              <a:t>Click to add text</a:t>
            </a:r>
          </a:p>
          <a:p>
            <a:pPr lvl="0"/>
            <a:endParaRPr lang="en-US"/>
          </a:p>
        </p:txBody>
      </p:sp>
      <p:sp>
        <p:nvSpPr>
          <p:cNvPr id="35" name="Text Placeholder 4">
            <a:extLst>
              <a:ext uri="{FF2B5EF4-FFF2-40B4-BE49-F238E27FC236}">
                <a16:creationId xmlns:a16="http://schemas.microsoft.com/office/drawing/2014/main" id="{66455418-CCA2-3D4F-93F8-24EE60A36377}"/>
              </a:ext>
            </a:extLst>
          </p:cNvPr>
          <p:cNvSpPr>
            <a:spLocks noGrp="1"/>
          </p:cNvSpPr>
          <p:nvPr>
            <p:ph type="body" sz="quarter" idx="46"/>
          </p:nvPr>
        </p:nvSpPr>
        <p:spPr>
          <a:xfrm>
            <a:off x="355600" y="1900358"/>
            <a:ext cx="2702563" cy="4062841"/>
          </a:xfrm>
          <a:prstGeom prst="rect">
            <a:avLst/>
          </a:prstGeom>
          <a:solidFill>
            <a:schemeClr val="bg2"/>
          </a:solidFill>
        </p:spPr>
        <p:txBody>
          <a:bodyPr/>
          <a:lstStyle>
            <a:lvl1pPr marL="228594" indent="-228594">
              <a:buClr>
                <a:schemeClr val="bg1"/>
              </a:buClr>
              <a:buFont typeface="Arial" panose="020B0604020202020204" pitchFamily="34" charset="0"/>
              <a:buChar char="•"/>
              <a:defRPr sz="1867">
                <a:solidFill>
                  <a:schemeClr val="bg1"/>
                </a:solidFill>
              </a:defRPr>
            </a:lvl1pPr>
            <a:lvl2pPr>
              <a:defRPr sz="1467"/>
            </a:lvl2pPr>
            <a:lvl3pPr>
              <a:defRPr sz="1400"/>
            </a:lvl3pPr>
            <a:lvl4pPr>
              <a:defRPr sz="1333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CBFDDF4-0565-424E-AFE7-6000EF98D79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anchor="t"/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99149417-1319-C649-AC4A-7E41C1FEC4B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bg1"/>
                </a:solidFill>
              </a:defRPr>
            </a:lvl1pPr>
          </a:lstStyle>
          <a:p>
            <a:fld id="{F531C153-56E2-4D58-BF8C-84423A751AD4}" type="slidenum">
              <a:rPr lang="en-US" smtClean="0"/>
              <a:t>‹#›</a:t>
            </a:fld>
            <a:endParaRPr lang="en-US"/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E00B67C2-572F-D641-B534-A84F2E9B256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83395" y="889001"/>
            <a:ext cx="11425211" cy="452967"/>
          </a:xfrm>
          <a:prstGeom prst="rect">
            <a:avLst/>
          </a:prstGeom>
        </p:spPr>
        <p:txBody>
          <a:bodyPr anchor="b">
            <a:noAutofit/>
          </a:bodyPr>
          <a:lstStyle>
            <a:lvl1pPr>
              <a:defRPr lang="en-US" sz="2400" b="0" i="0" kern="1200" dirty="0">
                <a:solidFill>
                  <a:schemeClr val="accent2"/>
                </a:solidFill>
                <a:latin typeface="+mj-lt"/>
                <a:ea typeface="Helvetica Neue Thin" panose="020B0403020202020204" pitchFamily="34" charset="0"/>
                <a:cs typeface="+mn-cs"/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8ED337B7-ABFC-024D-B139-17A476FBFBAE}"/>
              </a:ext>
            </a:extLst>
          </p:cNvPr>
          <p:cNvSpPr/>
          <p:nvPr/>
        </p:nvSpPr>
        <p:spPr>
          <a:xfrm>
            <a:off x="3281344" y="1429670"/>
            <a:ext cx="2697865" cy="4533529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32" name="Text Placeholder 7">
            <a:extLst>
              <a:ext uri="{FF2B5EF4-FFF2-40B4-BE49-F238E27FC236}">
                <a16:creationId xmlns:a16="http://schemas.microsoft.com/office/drawing/2014/main" id="{DF2D05A9-F2EA-DC47-8ADD-55EB6FDA54F3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3281343" y="1433576"/>
            <a:ext cx="2694432" cy="4535424"/>
          </a:xfrm>
          <a:prstGeom prst="rect">
            <a:avLst/>
          </a:prstGeo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2400" b="1">
                <a:solidFill>
                  <a:schemeClr val="bg1"/>
                </a:solidFill>
              </a:defRPr>
            </a:lvl1pPr>
            <a:lvl2pPr marL="0" indent="0">
              <a:buNone/>
              <a:defRPr>
                <a:solidFill>
                  <a:schemeClr val="bg1"/>
                </a:solidFill>
              </a:defRPr>
            </a:lvl2pPr>
            <a:lvl3pPr marL="311143" indent="0">
              <a:buNone/>
              <a:defRPr>
                <a:solidFill>
                  <a:schemeClr val="bg1"/>
                </a:solidFill>
              </a:defRPr>
            </a:lvl3pPr>
          </a:lstStyle>
          <a:p>
            <a:pPr lvl="0"/>
            <a:r>
              <a:rPr lang="en-US"/>
              <a:t>Click to add text</a:t>
            </a:r>
          </a:p>
          <a:p>
            <a:pPr lvl="0"/>
            <a:endParaRPr lang="en-US"/>
          </a:p>
        </p:txBody>
      </p:sp>
      <p:sp>
        <p:nvSpPr>
          <p:cNvPr id="36" name="Text Placeholder 4">
            <a:extLst>
              <a:ext uri="{FF2B5EF4-FFF2-40B4-BE49-F238E27FC236}">
                <a16:creationId xmlns:a16="http://schemas.microsoft.com/office/drawing/2014/main" id="{651FAD33-FDC2-2047-9DB8-51BBAFE597D7}"/>
              </a:ext>
            </a:extLst>
          </p:cNvPr>
          <p:cNvSpPr>
            <a:spLocks noGrp="1"/>
          </p:cNvSpPr>
          <p:nvPr>
            <p:ph type="body" sz="quarter" idx="47"/>
          </p:nvPr>
        </p:nvSpPr>
        <p:spPr>
          <a:xfrm>
            <a:off x="3281343" y="1900358"/>
            <a:ext cx="2702563" cy="4062841"/>
          </a:xfrm>
          <a:prstGeom prst="rect">
            <a:avLst/>
          </a:prstGeom>
        </p:spPr>
        <p:txBody>
          <a:bodyPr/>
          <a:lstStyle>
            <a:lvl1pPr marL="228594" indent="-228594">
              <a:buClr>
                <a:schemeClr val="bg1"/>
              </a:buClr>
              <a:buFont typeface="Arial" panose="020B0604020202020204" pitchFamily="34" charset="0"/>
              <a:buChar char="•"/>
              <a:defRPr sz="1867">
                <a:solidFill>
                  <a:schemeClr val="bg1"/>
                </a:solidFill>
              </a:defRPr>
            </a:lvl1pPr>
            <a:lvl2pPr>
              <a:defRPr sz="1467"/>
            </a:lvl2pPr>
            <a:lvl3pPr>
              <a:defRPr sz="1400"/>
            </a:lvl3pPr>
            <a:lvl4pPr>
              <a:defRPr sz="1333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070461513"/>
      </p:ext>
    </p:extLst>
  </p:cSld>
  <p:clrMapOvr>
    <a:masterClrMapping/>
  </p:clrMapOvr>
  <p:transition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CONTENT WITH IMAG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/>
        <p:txBody>
          <a:bodyPr anchor="t"/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20" name="Slide Number Placeholder 2">
            <a:extLst>
              <a:ext uri="{FF2B5EF4-FFF2-40B4-BE49-F238E27FC236}">
                <a16:creationId xmlns:a16="http://schemas.microsoft.com/office/drawing/2014/main" id="{8D89EC0F-276B-854A-9C14-F34A2FB2352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lang="en-US" smtClean="0"/>
            </a:lvl1pPr>
          </a:lstStyle>
          <a:p>
            <a:fld id="{F531C153-56E2-4D58-BF8C-84423A751AD4}" type="slidenum">
              <a:rPr lang="en-US" smtClean="0"/>
              <a:t>‹#›</a:t>
            </a:fld>
            <a:endParaRPr lang="en-US"/>
          </a:p>
        </p:txBody>
      </p:sp>
      <p:sp>
        <p:nvSpPr>
          <p:cNvPr id="52" name="Text Placeholder 29">
            <a:extLst>
              <a:ext uri="{FF2B5EF4-FFF2-40B4-BE49-F238E27FC236}">
                <a16:creationId xmlns:a16="http://schemas.microsoft.com/office/drawing/2014/main" id="{FC7D0908-8125-E94B-8CB6-312DDE6E23D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233975" y="4914486"/>
            <a:ext cx="2828544" cy="538193"/>
          </a:xfrm>
          <a:prstGeom prst="rect">
            <a:avLst/>
          </a:prstGeom>
          <a:noFill/>
        </p:spPr>
        <p:txBody>
          <a:bodyPr anchor="ctr">
            <a:normAutofit/>
          </a:bodyPr>
          <a:lstStyle>
            <a:lvl1pPr algn="ctr">
              <a:spcBef>
                <a:spcPts val="0"/>
              </a:spcBef>
              <a:defRPr sz="2133" b="1">
                <a:solidFill>
                  <a:schemeClr val="accent4"/>
                </a:solidFill>
                <a:latin typeface="+mj-lt"/>
              </a:defRPr>
            </a:lvl1pPr>
            <a:lvl2pPr>
              <a:spcBef>
                <a:spcPts val="800"/>
              </a:spcBef>
              <a:defRPr sz="1600"/>
            </a:lvl2pPr>
            <a:lvl3pPr>
              <a:defRPr sz="1467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53" name="Text Placeholder 29">
            <a:extLst>
              <a:ext uri="{FF2B5EF4-FFF2-40B4-BE49-F238E27FC236}">
                <a16:creationId xmlns:a16="http://schemas.microsoft.com/office/drawing/2014/main" id="{50E86878-F16F-5843-9652-323A631DE18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112349" y="4914486"/>
            <a:ext cx="2828544" cy="538193"/>
          </a:xfrm>
          <a:prstGeom prst="rect">
            <a:avLst/>
          </a:prstGeom>
          <a:noFill/>
        </p:spPr>
        <p:txBody>
          <a:bodyPr anchor="ctr">
            <a:normAutofit/>
          </a:bodyPr>
          <a:lstStyle>
            <a:lvl1pPr algn="ctr">
              <a:spcBef>
                <a:spcPts val="0"/>
              </a:spcBef>
              <a:defRPr sz="2133" b="1">
                <a:solidFill>
                  <a:schemeClr val="accent2"/>
                </a:solidFill>
                <a:latin typeface="+mj-lt"/>
              </a:defRPr>
            </a:lvl1pPr>
            <a:lvl2pPr>
              <a:spcBef>
                <a:spcPts val="800"/>
              </a:spcBef>
              <a:defRPr sz="1600"/>
            </a:lvl2pPr>
            <a:lvl3pPr>
              <a:defRPr sz="1467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54" name="Text Placeholder 29">
            <a:extLst>
              <a:ext uri="{FF2B5EF4-FFF2-40B4-BE49-F238E27FC236}">
                <a16:creationId xmlns:a16="http://schemas.microsoft.com/office/drawing/2014/main" id="{1D0E07CA-0980-AB46-B8BF-7022361347EF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55600" y="4914486"/>
            <a:ext cx="2828544" cy="538193"/>
          </a:xfrm>
          <a:prstGeom prst="rect">
            <a:avLst/>
          </a:prstGeom>
          <a:noFill/>
        </p:spPr>
        <p:txBody>
          <a:bodyPr anchor="ctr">
            <a:normAutofit/>
          </a:bodyPr>
          <a:lstStyle>
            <a:lvl1pPr algn="ctr">
              <a:spcBef>
                <a:spcPts val="0"/>
              </a:spcBef>
              <a:defRPr sz="2133" b="1">
                <a:solidFill>
                  <a:schemeClr val="accent1"/>
                </a:solidFill>
                <a:latin typeface="+mj-lt"/>
              </a:defRPr>
            </a:lvl1pPr>
            <a:lvl2pPr>
              <a:spcBef>
                <a:spcPts val="800"/>
              </a:spcBef>
              <a:defRPr sz="1600"/>
            </a:lvl2pPr>
            <a:lvl3pPr>
              <a:defRPr sz="1467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55" name="Text Placeholder 29">
            <a:extLst>
              <a:ext uri="{FF2B5EF4-FFF2-40B4-BE49-F238E27FC236}">
                <a16:creationId xmlns:a16="http://schemas.microsoft.com/office/drawing/2014/main" id="{E8547F32-18C7-B043-9507-345C40101B5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990725" y="4914486"/>
            <a:ext cx="2828544" cy="538193"/>
          </a:xfrm>
          <a:prstGeom prst="rect">
            <a:avLst/>
          </a:prstGeom>
          <a:noFill/>
        </p:spPr>
        <p:txBody>
          <a:bodyPr anchor="ctr">
            <a:normAutofit/>
          </a:bodyPr>
          <a:lstStyle>
            <a:lvl1pPr algn="ctr">
              <a:spcBef>
                <a:spcPts val="0"/>
              </a:spcBef>
              <a:defRPr sz="2133" b="1">
                <a:solidFill>
                  <a:schemeClr val="bg2"/>
                </a:solidFill>
                <a:latin typeface="+mj-lt"/>
              </a:defRPr>
            </a:lvl1pPr>
            <a:lvl2pPr>
              <a:spcBef>
                <a:spcPts val="800"/>
              </a:spcBef>
              <a:defRPr sz="1600"/>
            </a:lvl2pPr>
            <a:lvl3pPr>
              <a:defRPr sz="1467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/>
              <a:t>Click to add text</a:t>
            </a:r>
          </a:p>
        </p:txBody>
      </p:sp>
      <p:pic>
        <p:nvPicPr>
          <p:cNvPr id="56" name="Picture Placeholder 39">
            <a:extLst>
              <a:ext uri="{FF2B5EF4-FFF2-40B4-BE49-F238E27FC236}">
                <a16:creationId xmlns:a16="http://schemas.microsoft.com/office/drawing/2014/main" id="{E7376D01-B4B4-7649-922C-517BE8687400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705" t="704" b="1"/>
          <a:stretch/>
        </p:blipFill>
        <p:spPr>
          <a:xfrm>
            <a:off x="9684112" y="1522363"/>
            <a:ext cx="2135157" cy="3384620"/>
          </a:xfrm>
          <a:prstGeom prst="rect">
            <a:avLst/>
          </a:prstGeom>
        </p:spPr>
      </p:pic>
      <p:pic>
        <p:nvPicPr>
          <p:cNvPr id="57" name="Picture 56">
            <a:extLst>
              <a:ext uri="{FF2B5EF4-FFF2-40B4-BE49-F238E27FC236}">
                <a16:creationId xmlns:a16="http://schemas.microsoft.com/office/drawing/2014/main" id="{2972E0E2-63F5-5341-BCB6-A221C90071BE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5251" t="914" r="66340" b="567"/>
          <a:stretch/>
        </p:blipFill>
        <p:spPr>
          <a:xfrm>
            <a:off x="8990726" y="1524935"/>
            <a:ext cx="1122868" cy="3378312"/>
          </a:xfrm>
          <a:prstGeom prst="rect">
            <a:avLst/>
          </a:prstGeom>
        </p:spPr>
      </p:pic>
      <p:pic>
        <p:nvPicPr>
          <p:cNvPr id="58" name="Picture 57">
            <a:extLst>
              <a:ext uri="{FF2B5EF4-FFF2-40B4-BE49-F238E27FC236}">
                <a16:creationId xmlns:a16="http://schemas.microsoft.com/office/drawing/2014/main" id="{27D3708F-18EE-8D4A-BC17-04BECF0EF31E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/>
          <a:stretch/>
        </p:blipFill>
        <p:spPr>
          <a:xfrm>
            <a:off x="3919281" y="1522697"/>
            <a:ext cx="2143239" cy="3389903"/>
          </a:xfrm>
          <a:prstGeom prst="rect">
            <a:avLst/>
          </a:prstGeom>
        </p:spPr>
      </p:pic>
      <p:pic>
        <p:nvPicPr>
          <p:cNvPr id="59" name="Picture 58" descr="A picture containing grass, outdoor, water, sitting&#10;&#10;Description automatically generated">
            <a:extLst>
              <a:ext uri="{FF2B5EF4-FFF2-40B4-BE49-F238E27FC236}">
                <a16:creationId xmlns:a16="http://schemas.microsoft.com/office/drawing/2014/main" id="{78BCA02D-F3E2-9B43-AD10-582346EE3411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10434" t="211" r="70942" b="-1"/>
          <a:stretch/>
        </p:blipFill>
        <p:spPr>
          <a:xfrm>
            <a:off x="3233975" y="1522363"/>
            <a:ext cx="1122869" cy="3385815"/>
          </a:xfrm>
          <a:prstGeom prst="rect">
            <a:avLst/>
          </a:prstGeom>
        </p:spPr>
      </p:pic>
      <p:pic>
        <p:nvPicPr>
          <p:cNvPr id="60" name="Picture Placeholder 33">
            <a:extLst>
              <a:ext uri="{FF2B5EF4-FFF2-40B4-BE49-F238E27FC236}">
                <a16:creationId xmlns:a16="http://schemas.microsoft.com/office/drawing/2014/main" id="{299EB0AB-F23E-7C4E-8089-7DDFA9BD049C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t="307" r="490" b="-1"/>
          <a:stretch/>
        </p:blipFill>
        <p:spPr>
          <a:xfrm>
            <a:off x="949037" y="1522363"/>
            <a:ext cx="2235107" cy="3392965"/>
          </a:xfrm>
          <a:prstGeom prst="rect">
            <a:avLst/>
          </a:prstGeom>
        </p:spPr>
      </p:pic>
      <p:pic>
        <p:nvPicPr>
          <p:cNvPr id="61" name="Picture 60" descr="A picture containing large, door, covered, standing&#10;&#10;Description automatically generated">
            <a:extLst>
              <a:ext uri="{FF2B5EF4-FFF2-40B4-BE49-F238E27FC236}">
                <a16:creationId xmlns:a16="http://schemas.microsoft.com/office/drawing/2014/main" id="{A55F82F7-32C4-B048-BFCF-18C4B0CE58C2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t="535" r="535"/>
          <a:stretch/>
        </p:blipFill>
        <p:spPr>
          <a:xfrm>
            <a:off x="355600" y="1522363"/>
            <a:ext cx="1119677" cy="3392965"/>
          </a:xfrm>
          <a:prstGeom prst="rect">
            <a:avLst/>
          </a:prstGeom>
        </p:spPr>
      </p:pic>
      <p:pic>
        <p:nvPicPr>
          <p:cNvPr id="62" name="Picture Placeholder 37">
            <a:extLst>
              <a:ext uri="{FF2B5EF4-FFF2-40B4-BE49-F238E27FC236}">
                <a16:creationId xmlns:a16="http://schemas.microsoft.com/office/drawing/2014/main" id="{F67F9DDE-AFB2-2B41-8669-A4D85BDA570C}"/>
              </a:ext>
            </a:extLst>
          </p:cNvPr>
          <p:cNvPicPr>
            <a:picLocks noChangeAspect="1"/>
          </p:cNvPicPr>
          <p:nvPr/>
        </p:nvPicPr>
        <p:blipFill>
          <a:blip r:embed="rId8"/>
          <a:srcRect/>
          <a:stretch/>
        </p:blipFill>
        <p:spPr>
          <a:xfrm>
            <a:off x="6738669" y="1524935"/>
            <a:ext cx="2202224" cy="3380671"/>
          </a:xfrm>
          <a:prstGeom prst="rect">
            <a:avLst/>
          </a:prstGeom>
        </p:spPr>
      </p:pic>
      <p:pic>
        <p:nvPicPr>
          <p:cNvPr id="63" name="Picture 62">
            <a:extLst>
              <a:ext uri="{FF2B5EF4-FFF2-40B4-BE49-F238E27FC236}">
                <a16:creationId xmlns:a16="http://schemas.microsoft.com/office/drawing/2014/main" id="{13B09EA3-ABA0-744B-AECE-823BB93D3268}"/>
              </a:ext>
            </a:extLst>
          </p:cNvPr>
          <p:cNvPicPr>
            <a:picLocks/>
          </p:cNvPicPr>
          <p:nvPr/>
        </p:nvPicPr>
        <p:blipFill rotWithShape="1">
          <a:blip r:embed="rId9"/>
          <a:srcRect l="42764" t="246" r="6122" b="186"/>
          <a:stretch/>
        </p:blipFill>
        <p:spPr>
          <a:xfrm>
            <a:off x="6112349" y="1522363"/>
            <a:ext cx="1121664" cy="3378312"/>
          </a:xfrm>
          <a:prstGeom prst="rect">
            <a:avLst/>
          </a:prstGeom>
        </p:spPr>
      </p:pic>
      <p:sp>
        <p:nvSpPr>
          <p:cNvPr id="64" name="Rectangle 63">
            <a:extLst>
              <a:ext uri="{FF2B5EF4-FFF2-40B4-BE49-F238E27FC236}">
                <a16:creationId xmlns:a16="http://schemas.microsoft.com/office/drawing/2014/main" id="{39234B23-563A-3D40-B231-C7E272EDD43F}"/>
              </a:ext>
            </a:extLst>
          </p:cNvPr>
          <p:cNvSpPr/>
          <p:nvPr/>
        </p:nvSpPr>
        <p:spPr>
          <a:xfrm>
            <a:off x="3233975" y="4852144"/>
            <a:ext cx="2828544" cy="121920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 defTabSz="914377"/>
            <a:endParaRPr lang="en-US" sz="1800">
              <a:solidFill>
                <a:schemeClr val="tx1">
                  <a:lumMod val="75000"/>
                </a:schemeClr>
              </a:solidFill>
              <a:latin typeface="Arial" panose="020B0604020202020204"/>
            </a:endParaRPr>
          </a:p>
        </p:txBody>
      </p:sp>
      <p:sp>
        <p:nvSpPr>
          <p:cNvPr id="65" name="Rectangle 64">
            <a:extLst>
              <a:ext uri="{FF2B5EF4-FFF2-40B4-BE49-F238E27FC236}">
                <a16:creationId xmlns:a16="http://schemas.microsoft.com/office/drawing/2014/main" id="{AA978C8C-4606-CB41-8EC6-508BC370086D}"/>
              </a:ext>
            </a:extLst>
          </p:cNvPr>
          <p:cNvSpPr/>
          <p:nvPr/>
        </p:nvSpPr>
        <p:spPr>
          <a:xfrm>
            <a:off x="6112349" y="4852144"/>
            <a:ext cx="2828544" cy="12192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 defTabSz="914377"/>
            <a:endParaRPr lang="en-US" sz="1800">
              <a:solidFill>
                <a:schemeClr val="tx1">
                  <a:lumMod val="75000"/>
                </a:schemeClr>
              </a:solidFill>
              <a:latin typeface="Arial" panose="020B0604020202020204"/>
            </a:endParaRPr>
          </a:p>
        </p:txBody>
      </p:sp>
      <p:sp>
        <p:nvSpPr>
          <p:cNvPr id="66" name="Rectangle 65">
            <a:extLst>
              <a:ext uri="{FF2B5EF4-FFF2-40B4-BE49-F238E27FC236}">
                <a16:creationId xmlns:a16="http://schemas.microsoft.com/office/drawing/2014/main" id="{1748F369-7E39-544B-AE0A-72169F0805B4}"/>
              </a:ext>
            </a:extLst>
          </p:cNvPr>
          <p:cNvSpPr/>
          <p:nvPr/>
        </p:nvSpPr>
        <p:spPr>
          <a:xfrm>
            <a:off x="8990725" y="4852144"/>
            <a:ext cx="2828544" cy="121920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 defTabSz="914377"/>
            <a:endParaRPr lang="en-US" sz="1800">
              <a:solidFill>
                <a:schemeClr val="bg2"/>
              </a:solidFill>
              <a:latin typeface="Arial" panose="020B0604020202020204"/>
            </a:endParaRPr>
          </a:p>
        </p:txBody>
      </p:sp>
      <p:sp>
        <p:nvSpPr>
          <p:cNvPr id="67" name="Rectangle 66">
            <a:extLst>
              <a:ext uri="{FF2B5EF4-FFF2-40B4-BE49-F238E27FC236}">
                <a16:creationId xmlns:a16="http://schemas.microsoft.com/office/drawing/2014/main" id="{03B47E63-5D2B-994A-A313-F7FF63D01A4A}"/>
              </a:ext>
            </a:extLst>
          </p:cNvPr>
          <p:cNvSpPr/>
          <p:nvPr/>
        </p:nvSpPr>
        <p:spPr>
          <a:xfrm>
            <a:off x="355600" y="4852144"/>
            <a:ext cx="2828544" cy="12192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 defTabSz="914377"/>
            <a:endParaRPr lang="en-US" sz="1800">
              <a:solidFill>
                <a:schemeClr val="tx1">
                  <a:lumMod val="75000"/>
                </a:schemeClr>
              </a:solidFill>
              <a:latin typeface="Arial" panose="020B0604020202020204"/>
            </a:endParaRPr>
          </a:p>
        </p:txBody>
      </p:sp>
      <p:sp>
        <p:nvSpPr>
          <p:cNvPr id="68" name="Picture Placeholder 3">
            <a:extLst>
              <a:ext uri="{FF2B5EF4-FFF2-40B4-BE49-F238E27FC236}">
                <a16:creationId xmlns:a16="http://schemas.microsoft.com/office/drawing/2014/main" id="{90E80010-9784-024E-AA30-A1B1623710C4}"/>
              </a:ext>
            </a:extLst>
          </p:cNvPr>
          <p:cNvSpPr>
            <a:spLocks noGrp="1"/>
          </p:cNvSpPr>
          <p:nvPr>
            <p:ph type="pic" sz="quarter" idx="46" hasCustomPrompt="1"/>
          </p:nvPr>
        </p:nvSpPr>
        <p:spPr>
          <a:xfrm>
            <a:off x="6112349" y="1522363"/>
            <a:ext cx="2828544" cy="3328416"/>
          </a:xfrm>
          <a:prstGeom prst="rect">
            <a:avLst/>
          </a:prstGeom>
        </p:spPr>
        <p:txBody>
          <a:bodyPr vert="horz" lIns="640080" tIns="45720" rIns="640080" bIns="45720" rtlCol="0" anchor="ctr">
            <a:noAutofit/>
          </a:bodyPr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1333">
                <a:solidFill>
                  <a:schemeClr val="bg1"/>
                </a:solidFill>
                <a:highlight>
                  <a:srgbClr val="80B9F9"/>
                </a:highlight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  <p:sp>
        <p:nvSpPr>
          <p:cNvPr id="69" name="Picture Placeholder 3">
            <a:extLst>
              <a:ext uri="{FF2B5EF4-FFF2-40B4-BE49-F238E27FC236}">
                <a16:creationId xmlns:a16="http://schemas.microsoft.com/office/drawing/2014/main" id="{87FA8EB7-92F9-0645-9DA9-9CA1DBAA55F6}"/>
              </a:ext>
            </a:extLst>
          </p:cNvPr>
          <p:cNvSpPr>
            <a:spLocks noGrp="1"/>
          </p:cNvSpPr>
          <p:nvPr>
            <p:ph type="pic" sz="quarter" idx="47" hasCustomPrompt="1"/>
          </p:nvPr>
        </p:nvSpPr>
        <p:spPr>
          <a:xfrm>
            <a:off x="8990725" y="1522363"/>
            <a:ext cx="2828544" cy="3328416"/>
          </a:xfrm>
          <a:prstGeom prst="rect">
            <a:avLst/>
          </a:prstGeom>
        </p:spPr>
        <p:txBody>
          <a:bodyPr vert="horz" lIns="640080" tIns="45720" rIns="640080" bIns="45720" rtlCol="0" anchor="ctr">
            <a:noAutofit/>
          </a:bodyPr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1333">
                <a:solidFill>
                  <a:schemeClr val="bg1"/>
                </a:solidFill>
                <a:highlight>
                  <a:srgbClr val="80B9F9"/>
                </a:highlight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  <p:sp>
        <p:nvSpPr>
          <p:cNvPr id="70" name="Picture Placeholder 3">
            <a:extLst>
              <a:ext uri="{FF2B5EF4-FFF2-40B4-BE49-F238E27FC236}">
                <a16:creationId xmlns:a16="http://schemas.microsoft.com/office/drawing/2014/main" id="{F3FE57DD-148C-DA49-BF9E-1A57601FABCC}"/>
              </a:ext>
            </a:extLst>
          </p:cNvPr>
          <p:cNvSpPr>
            <a:spLocks noGrp="1"/>
          </p:cNvSpPr>
          <p:nvPr>
            <p:ph type="pic" sz="quarter" idx="48" hasCustomPrompt="1"/>
          </p:nvPr>
        </p:nvSpPr>
        <p:spPr>
          <a:xfrm>
            <a:off x="3233975" y="1522363"/>
            <a:ext cx="2828544" cy="3328416"/>
          </a:xfrm>
          <a:prstGeom prst="rect">
            <a:avLst/>
          </a:prstGeom>
        </p:spPr>
        <p:txBody>
          <a:bodyPr vert="horz" lIns="640080" tIns="45720" rIns="640080" bIns="45720" rtlCol="0" anchor="ctr">
            <a:noAutofit/>
          </a:bodyPr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1333">
                <a:solidFill>
                  <a:schemeClr val="bg1"/>
                </a:solidFill>
                <a:highlight>
                  <a:srgbClr val="80B9F9"/>
                </a:highlight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  <p:sp>
        <p:nvSpPr>
          <p:cNvPr id="71" name="Picture Placeholder 3">
            <a:extLst>
              <a:ext uri="{FF2B5EF4-FFF2-40B4-BE49-F238E27FC236}">
                <a16:creationId xmlns:a16="http://schemas.microsoft.com/office/drawing/2014/main" id="{21F53B32-25A9-A64C-98B5-AC4C423E2F95}"/>
              </a:ext>
            </a:extLst>
          </p:cNvPr>
          <p:cNvSpPr>
            <a:spLocks noGrp="1"/>
          </p:cNvSpPr>
          <p:nvPr>
            <p:ph type="pic" sz="quarter" idx="49" hasCustomPrompt="1"/>
          </p:nvPr>
        </p:nvSpPr>
        <p:spPr>
          <a:xfrm>
            <a:off x="355600" y="1522363"/>
            <a:ext cx="2828544" cy="3328416"/>
          </a:xfrm>
          <a:prstGeom prst="rect">
            <a:avLst/>
          </a:prstGeom>
        </p:spPr>
        <p:txBody>
          <a:bodyPr vert="horz" lIns="640080" tIns="45720" rIns="640080" bIns="45720" rtlCol="0" anchor="ctr">
            <a:noAutofit/>
          </a:bodyPr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1333">
                <a:solidFill>
                  <a:schemeClr val="bg1"/>
                </a:solidFill>
                <a:highlight>
                  <a:srgbClr val="80B9F9"/>
                </a:highlight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</p:spTree>
    <p:extLst>
      <p:ext uri="{BB962C8B-B14F-4D97-AF65-F5344CB8AC3E}">
        <p14:creationId xmlns:p14="http://schemas.microsoft.com/office/powerpoint/2010/main" val="13245282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CONTENT WITH IMAGE_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1" name="Picture 30" descr="A picture containing large, door, covered, standing&#10;&#10;Description automatically generated">
            <a:extLst>
              <a:ext uri="{FF2B5EF4-FFF2-40B4-BE49-F238E27FC236}">
                <a16:creationId xmlns:a16="http://schemas.microsoft.com/office/drawing/2014/main" id="{C26A81D1-99EE-D342-80DE-CE0E346E5E6C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43697" r="61435" b="10766"/>
          <a:stretch/>
        </p:blipFill>
        <p:spPr>
          <a:xfrm>
            <a:off x="9168319" y="2123467"/>
            <a:ext cx="3023680" cy="2011680"/>
          </a:xfrm>
          <a:prstGeom prst="rect">
            <a:avLst/>
          </a:prstGeom>
        </p:spPr>
      </p:pic>
      <p:pic>
        <p:nvPicPr>
          <p:cNvPr id="32" name="Picture 31">
            <a:extLst>
              <a:ext uri="{FF2B5EF4-FFF2-40B4-BE49-F238E27FC236}">
                <a16:creationId xmlns:a16="http://schemas.microsoft.com/office/drawing/2014/main" id="{9E0199A8-E610-6C40-8141-0BF434411DDD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4231" t="668" r="3725" b="2420"/>
          <a:stretch/>
        </p:blipFill>
        <p:spPr>
          <a:xfrm>
            <a:off x="6095996" y="2123467"/>
            <a:ext cx="3023616" cy="2011680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E6216911-FB39-1D40-98FE-F4BB03DAB202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2607" t="1487" r="1490" b="1787"/>
          <a:stretch/>
        </p:blipFill>
        <p:spPr>
          <a:xfrm>
            <a:off x="6095997" y="52160"/>
            <a:ext cx="3023616" cy="2021064"/>
          </a:xfrm>
          <a:prstGeom prst="rect">
            <a:avLst/>
          </a:prstGeom>
        </p:spPr>
      </p:pic>
      <p:pic>
        <p:nvPicPr>
          <p:cNvPr id="20" name="Picture 19" descr="A picture containing grass, outdoor, water, sitting&#10;&#10;Description automatically generated">
            <a:extLst>
              <a:ext uri="{FF2B5EF4-FFF2-40B4-BE49-F238E27FC236}">
                <a16:creationId xmlns:a16="http://schemas.microsoft.com/office/drawing/2014/main" id="{ECA15B4D-4A2F-1C41-BF71-05750929370C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t="1" r="17420" b="2371"/>
          <a:stretch/>
        </p:blipFill>
        <p:spPr>
          <a:xfrm>
            <a:off x="6096000" y="4191813"/>
            <a:ext cx="3023677" cy="2011680"/>
          </a:xfrm>
          <a:prstGeom prst="rect">
            <a:avLst/>
          </a:prstGeom>
        </p:spPr>
      </p:pic>
      <p:sp>
        <p:nvSpPr>
          <p:cNvPr id="4" name="Title 3">
            <a:extLst>
              <a:ext uri="{FF2B5EF4-FFF2-40B4-BE49-F238E27FC236}">
                <a16:creationId xmlns:a16="http://schemas.microsoft.com/office/drawing/2014/main" id="{AB13A8F6-4AF7-DF4E-8249-8611B901D5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3397" y="204645"/>
            <a:ext cx="5340071" cy="1183888"/>
          </a:xfrm>
        </p:spPr>
        <p:txBody>
          <a:bodyPr anchor="t"/>
          <a:lstStyle>
            <a:lvl1pPr>
              <a:defRPr/>
            </a:lvl1pPr>
          </a:lstStyle>
          <a:p>
            <a:r>
              <a:rPr lang="en-US"/>
              <a:t>Click to Add Title</a:t>
            </a:r>
            <a:br>
              <a:rPr lang="en-US"/>
            </a:br>
            <a:endParaRPr lang="en-US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31077D84-1D6B-AB45-9374-D471D1438E5F}"/>
              </a:ext>
            </a:extLst>
          </p:cNvPr>
          <p:cNvSpPr>
            <a:spLocks noGrp="1"/>
          </p:cNvSpPr>
          <p:nvPr>
            <p:ph sz="quarter" idx="48" hasCustomPrompt="1"/>
          </p:nvPr>
        </p:nvSpPr>
        <p:spPr>
          <a:xfrm>
            <a:off x="383395" y="1531408"/>
            <a:ext cx="5340069" cy="4056592"/>
          </a:xfrm>
          <a:prstGeom prst="rect">
            <a:avLst/>
          </a:prstGeo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lang="en-US" sz="2400" dirty="0">
                <a:solidFill>
                  <a:schemeClr val="tx1"/>
                </a:solidFill>
              </a:defRPr>
            </a:lvl1pPr>
            <a:lvl2pPr>
              <a:defRPr sz="2133">
                <a:solidFill>
                  <a:schemeClr val="tx1"/>
                </a:solidFill>
              </a:defRPr>
            </a:lvl2pPr>
            <a:lvl3pPr>
              <a:defRPr sz="2133">
                <a:solidFill>
                  <a:schemeClr val="tx1"/>
                </a:solidFill>
              </a:defRPr>
            </a:lvl3pPr>
            <a:lvl4pPr>
              <a:defRPr sz="2133">
                <a:solidFill>
                  <a:schemeClr val="tx1"/>
                </a:solidFill>
              </a:defRPr>
            </a:lvl4pPr>
            <a:lvl5pPr>
              <a:defRPr sz="2133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add text or click icon to add content</a:t>
            </a:r>
          </a:p>
          <a:p>
            <a:pPr lvl="1"/>
            <a:r>
              <a:rPr lang="en-US"/>
              <a:t> First level bullet</a:t>
            </a:r>
          </a:p>
          <a:p>
            <a:pPr lvl="2"/>
            <a:r>
              <a:rPr lang="en-US"/>
              <a:t>Second level bullet</a:t>
            </a:r>
          </a:p>
          <a:p>
            <a:pPr lvl="3"/>
            <a:r>
              <a:rPr lang="en-US"/>
              <a:t>Third level bullet</a:t>
            </a:r>
          </a:p>
          <a:p>
            <a:pPr lvl="4"/>
            <a:r>
              <a:rPr lang="en-US"/>
              <a:t>Fourth level bullet</a:t>
            </a:r>
          </a:p>
        </p:txBody>
      </p:sp>
      <p:pic>
        <p:nvPicPr>
          <p:cNvPr id="15" name="Picture Placeholder 43">
            <a:extLst>
              <a:ext uri="{FF2B5EF4-FFF2-40B4-BE49-F238E27FC236}">
                <a16:creationId xmlns:a16="http://schemas.microsoft.com/office/drawing/2014/main" id="{DB2AAFDB-C46E-164B-99C4-A36388CEABA8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168319" y="52160"/>
            <a:ext cx="3023679" cy="2021064"/>
          </a:xfrm>
          <a:prstGeom prst="rect">
            <a:avLst/>
          </a:prstGeom>
        </p:spPr>
      </p:pic>
      <p:sp>
        <p:nvSpPr>
          <p:cNvPr id="26" name="Slide Number Placeholder 2">
            <a:extLst>
              <a:ext uri="{FF2B5EF4-FFF2-40B4-BE49-F238E27FC236}">
                <a16:creationId xmlns:a16="http://schemas.microsoft.com/office/drawing/2014/main" id="{ABF4B230-3977-AA4A-BBF1-51A68B68C01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bg1"/>
                </a:solidFill>
              </a:defRPr>
            </a:lvl1pPr>
          </a:lstStyle>
          <a:p>
            <a:fld id="{F531C153-56E2-4D58-BF8C-84423A751AD4}" type="slidenum">
              <a:rPr lang="en-US" smtClean="0"/>
              <a:t>‹#›</a:t>
            </a:fld>
            <a:endParaRPr lang="en-US"/>
          </a:p>
        </p:txBody>
      </p:sp>
      <p:pic>
        <p:nvPicPr>
          <p:cNvPr id="27" name="Picture 26" descr="Two people sitting on a bench&#10;&#10;Description automatically generated">
            <a:extLst>
              <a:ext uri="{FF2B5EF4-FFF2-40B4-BE49-F238E27FC236}">
                <a16:creationId xmlns:a16="http://schemas.microsoft.com/office/drawing/2014/main" id="{0ECED5C0-D8B1-4A4D-A3A1-B95932A186F9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r="4152" b="2237"/>
          <a:stretch/>
        </p:blipFill>
        <p:spPr>
          <a:xfrm>
            <a:off x="9169899" y="4191813"/>
            <a:ext cx="3020517" cy="2011680"/>
          </a:xfrm>
          <a:prstGeom prst="rect">
            <a:avLst/>
          </a:prstGeom>
        </p:spPr>
      </p:pic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4587F6D2-C5BE-EF4D-A429-5037DA1C0C6F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9296361" y="2266652"/>
            <a:ext cx="2767599" cy="1725313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 defTabSz="609585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Tx/>
              <a:buNone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21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13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1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9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lvl="0" indent="0" algn="l" defTabSz="609585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Tx/>
              <a:buNone/>
            </a:pPr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9" name="Text Placeholder 6">
            <a:extLst>
              <a:ext uri="{FF2B5EF4-FFF2-40B4-BE49-F238E27FC236}">
                <a16:creationId xmlns:a16="http://schemas.microsoft.com/office/drawing/2014/main" id="{FC1B8F0C-0697-2047-9A4F-10FE36D103AF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6224008" y="4334998"/>
            <a:ext cx="2767597" cy="1725313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 defTabSz="609585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Tx/>
              <a:buNone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21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13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1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9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lvl="0" indent="0" algn="l" defTabSz="609585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Tx/>
              <a:buNone/>
            </a:pPr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1" name="Text Placeholder 6">
            <a:extLst>
              <a:ext uri="{FF2B5EF4-FFF2-40B4-BE49-F238E27FC236}">
                <a16:creationId xmlns:a16="http://schemas.microsoft.com/office/drawing/2014/main" id="{4E4179F2-0BFB-CC40-91F3-129C75E9F3E5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6224007" y="200036"/>
            <a:ext cx="2767599" cy="1725313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 defTabSz="609585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Tx/>
              <a:buNone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21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13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1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9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lvl="0" indent="0" algn="l" defTabSz="609585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Tx/>
              <a:buNone/>
            </a:pPr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5" name="Picture Placeholder 3">
            <a:extLst>
              <a:ext uri="{FF2B5EF4-FFF2-40B4-BE49-F238E27FC236}">
                <a16:creationId xmlns:a16="http://schemas.microsoft.com/office/drawing/2014/main" id="{D9221DF1-85B3-474B-A9B7-E02F31C21037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9168320" y="52160"/>
            <a:ext cx="3023681" cy="2021064"/>
          </a:xfrm>
          <a:prstGeom prst="rect">
            <a:avLst/>
          </a:prstGeom>
        </p:spPr>
        <p:txBody>
          <a:bodyPr vert="horz" lIns="640080" tIns="45720" rIns="640080" bIns="45720" rtlCol="0" anchor="ctr">
            <a:noAutofit/>
          </a:bodyPr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1067">
                <a:solidFill>
                  <a:schemeClr val="bg1"/>
                </a:solidFill>
                <a:highlight>
                  <a:srgbClr val="80B9F9"/>
                </a:highlight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  <p:sp>
        <p:nvSpPr>
          <p:cNvPr id="30" name="Picture Placeholder 3">
            <a:extLst>
              <a:ext uri="{FF2B5EF4-FFF2-40B4-BE49-F238E27FC236}">
                <a16:creationId xmlns:a16="http://schemas.microsoft.com/office/drawing/2014/main" id="{6A5CCB92-7B24-BF47-B257-9C459ADACF50}"/>
              </a:ext>
            </a:extLst>
          </p:cNvPr>
          <p:cNvSpPr>
            <a:spLocks noGrp="1"/>
          </p:cNvSpPr>
          <p:nvPr>
            <p:ph type="pic" sz="quarter" idx="51" hasCustomPrompt="1"/>
          </p:nvPr>
        </p:nvSpPr>
        <p:spPr>
          <a:xfrm>
            <a:off x="9169900" y="4191813"/>
            <a:ext cx="3023681" cy="2011680"/>
          </a:xfrm>
          <a:prstGeom prst="rect">
            <a:avLst/>
          </a:prstGeom>
        </p:spPr>
        <p:txBody>
          <a:bodyPr vert="horz" lIns="640080" tIns="45720" rIns="640080" bIns="45720" rtlCol="0" anchor="ctr">
            <a:noAutofit/>
          </a:bodyPr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1067">
                <a:solidFill>
                  <a:schemeClr val="bg1"/>
                </a:solidFill>
                <a:highlight>
                  <a:srgbClr val="80B9F9"/>
                </a:highlight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  <p:sp>
        <p:nvSpPr>
          <p:cNvPr id="33" name="Picture Placeholder 3">
            <a:extLst>
              <a:ext uri="{FF2B5EF4-FFF2-40B4-BE49-F238E27FC236}">
                <a16:creationId xmlns:a16="http://schemas.microsoft.com/office/drawing/2014/main" id="{BA4F945A-DA04-604C-B487-55CCBF4E539D}"/>
              </a:ext>
            </a:extLst>
          </p:cNvPr>
          <p:cNvSpPr>
            <a:spLocks noGrp="1"/>
          </p:cNvSpPr>
          <p:nvPr>
            <p:ph type="pic" sz="quarter" idx="50" hasCustomPrompt="1"/>
          </p:nvPr>
        </p:nvSpPr>
        <p:spPr>
          <a:xfrm>
            <a:off x="6095931" y="2121988"/>
            <a:ext cx="3023681" cy="2011680"/>
          </a:xfrm>
          <a:prstGeom prst="rect">
            <a:avLst/>
          </a:prstGeom>
        </p:spPr>
        <p:txBody>
          <a:bodyPr vert="horz" lIns="640080" tIns="45720" rIns="640080" bIns="45720" rtlCol="0" anchor="ctr">
            <a:noAutofit/>
          </a:bodyPr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1067">
                <a:solidFill>
                  <a:schemeClr val="bg1"/>
                </a:solidFill>
                <a:highlight>
                  <a:srgbClr val="80B9F9"/>
                </a:highlight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</p:spTree>
    <p:extLst>
      <p:ext uri="{BB962C8B-B14F-4D97-AF65-F5344CB8AC3E}">
        <p14:creationId xmlns:p14="http://schemas.microsoft.com/office/powerpoint/2010/main" val="32609611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27C3234-2208-4FD5-BA5D-47924B90C3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anchor="t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35806CBA-57D9-9E40-85DA-4469949C69C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bg1"/>
                </a:solidFill>
              </a:defRPr>
            </a:lvl1pPr>
          </a:lstStyle>
          <a:p>
            <a:fld id="{F531C153-56E2-4D58-BF8C-84423A751AD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438045"/>
      </p:ext>
    </p:extLst>
  </p:cSld>
  <p:clrMapOvr>
    <a:masterClrMapping/>
  </p:clrMapOvr>
  <p:transition>
    <p:fade/>
  </p:transition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CONTENT WITH IMAGE_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5" name="Picture Placeholder 19">
            <a:extLst>
              <a:ext uri="{FF2B5EF4-FFF2-40B4-BE49-F238E27FC236}">
                <a16:creationId xmlns:a16="http://schemas.microsoft.com/office/drawing/2014/main" id="{4F175E74-BAFD-5448-97CD-A29A05C54E88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460"/>
          <a:stretch/>
        </p:blipFill>
        <p:spPr>
          <a:xfrm>
            <a:off x="9168314" y="4191905"/>
            <a:ext cx="3023681" cy="2011587"/>
          </a:xfrm>
          <a:prstGeom prst="rect">
            <a:avLst/>
          </a:prstGeom>
        </p:spPr>
      </p:pic>
      <p:sp>
        <p:nvSpPr>
          <p:cNvPr id="36" name="Rectangle 35">
            <a:extLst>
              <a:ext uri="{FF2B5EF4-FFF2-40B4-BE49-F238E27FC236}">
                <a16:creationId xmlns:a16="http://schemas.microsoft.com/office/drawing/2014/main" id="{24C3170A-BDAC-CD43-8A0A-960B1F5CD8ED}"/>
              </a:ext>
            </a:extLst>
          </p:cNvPr>
          <p:cNvSpPr/>
          <p:nvPr/>
        </p:nvSpPr>
        <p:spPr>
          <a:xfrm>
            <a:off x="6095999" y="4191812"/>
            <a:ext cx="3023679" cy="2011680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pic>
        <p:nvPicPr>
          <p:cNvPr id="34" name="Picture Placeholder 15">
            <a:extLst>
              <a:ext uri="{FF2B5EF4-FFF2-40B4-BE49-F238E27FC236}">
                <a16:creationId xmlns:a16="http://schemas.microsoft.com/office/drawing/2014/main" id="{56E20203-00D4-D448-8FA6-7BAB1676C6C9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b="464"/>
          <a:stretch/>
        </p:blipFill>
        <p:spPr>
          <a:xfrm>
            <a:off x="6096001" y="2121995"/>
            <a:ext cx="3023681" cy="2011680"/>
          </a:xfrm>
          <a:prstGeom prst="rect">
            <a:avLst/>
          </a:prstGeom>
        </p:spPr>
      </p:pic>
      <p:sp>
        <p:nvSpPr>
          <p:cNvPr id="33" name="Rectangle 32">
            <a:extLst>
              <a:ext uri="{FF2B5EF4-FFF2-40B4-BE49-F238E27FC236}">
                <a16:creationId xmlns:a16="http://schemas.microsoft.com/office/drawing/2014/main" id="{B87A0DC1-3AF1-4F49-9139-7779EB826D8C}"/>
              </a:ext>
            </a:extLst>
          </p:cNvPr>
          <p:cNvSpPr/>
          <p:nvPr/>
        </p:nvSpPr>
        <p:spPr>
          <a:xfrm>
            <a:off x="9168321" y="2121987"/>
            <a:ext cx="3023679" cy="201168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pic>
        <p:nvPicPr>
          <p:cNvPr id="23" name="Picture Placeholder 11">
            <a:extLst>
              <a:ext uri="{FF2B5EF4-FFF2-40B4-BE49-F238E27FC236}">
                <a16:creationId xmlns:a16="http://schemas.microsoft.com/office/drawing/2014/main" id="{B71455F8-897C-2E4F-8F04-4B9D87E6CEC3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t="2333" r="2334" b="-128"/>
          <a:stretch/>
        </p:blipFill>
        <p:spPr>
          <a:xfrm>
            <a:off x="9168320" y="54798"/>
            <a:ext cx="3023681" cy="2018425"/>
          </a:xfrm>
          <a:prstGeom prst="rect">
            <a:avLst/>
          </a:prstGeom>
        </p:spPr>
      </p:pic>
      <p:sp>
        <p:nvSpPr>
          <p:cNvPr id="4" name="Title 3">
            <a:extLst>
              <a:ext uri="{FF2B5EF4-FFF2-40B4-BE49-F238E27FC236}">
                <a16:creationId xmlns:a16="http://schemas.microsoft.com/office/drawing/2014/main" id="{AB13A8F6-4AF7-DF4E-8249-8611B901D5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3397" y="204645"/>
            <a:ext cx="5340071" cy="1183888"/>
          </a:xfrm>
        </p:spPr>
        <p:txBody>
          <a:bodyPr anchor="t"/>
          <a:lstStyle>
            <a:lvl1pPr>
              <a:defRPr/>
            </a:lvl1pPr>
          </a:lstStyle>
          <a:p>
            <a:r>
              <a:rPr lang="en-US"/>
              <a:t>Click to Add Title</a:t>
            </a:r>
            <a:br>
              <a:rPr lang="en-US"/>
            </a:br>
            <a:endParaRPr lang="en-US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31077D84-1D6B-AB45-9374-D471D1438E5F}"/>
              </a:ext>
            </a:extLst>
          </p:cNvPr>
          <p:cNvSpPr>
            <a:spLocks noGrp="1"/>
          </p:cNvSpPr>
          <p:nvPr>
            <p:ph sz="quarter" idx="48" hasCustomPrompt="1"/>
          </p:nvPr>
        </p:nvSpPr>
        <p:spPr>
          <a:xfrm>
            <a:off x="383395" y="1531408"/>
            <a:ext cx="5340069" cy="405659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>
              <a:defRPr lang="en-US" sz="2400" dirty="0"/>
            </a:lvl1pPr>
            <a:lvl2pPr>
              <a:defRPr lang="en-US" sz="2133" dirty="0"/>
            </a:lvl2pPr>
            <a:lvl3pPr>
              <a:defRPr lang="en-US" sz="2133" dirty="0"/>
            </a:lvl3pPr>
            <a:lvl4pPr>
              <a:defRPr lang="en-US" sz="2133" dirty="0"/>
            </a:lvl4pPr>
            <a:lvl5pPr>
              <a:defRPr lang="en-US" sz="2133" dirty="0"/>
            </a:lvl5pPr>
          </a:lstStyle>
          <a:p>
            <a:pPr marL="0" lvl="0" indent="0"/>
            <a:r>
              <a:rPr lang="en-US"/>
              <a:t>Click to add text or click icon to add content</a:t>
            </a:r>
          </a:p>
          <a:p>
            <a:pPr lvl="1"/>
            <a:r>
              <a:rPr lang="en-US"/>
              <a:t> First level bullet</a:t>
            </a:r>
          </a:p>
          <a:p>
            <a:pPr lvl="2"/>
            <a:r>
              <a:rPr lang="en-US"/>
              <a:t>Second level bullet</a:t>
            </a:r>
          </a:p>
          <a:p>
            <a:pPr lvl="3"/>
            <a:r>
              <a:rPr lang="en-US"/>
              <a:t>Third level bullet</a:t>
            </a:r>
          </a:p>
          <a:p>
            <a:pPr lvl="4"/>
            <a:r>
              <a:rPr lang="en-US"/>
              <a:t>Fourth level bullet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0178CFC3-5D8D-FF48-B92F-234CED59291C}"/>
              </a:ext>
            </a:extLst>
          </p:cNvPr>
          <p:cNvSpPr/>
          <p:nvPr/>
        </p:nvSpPr>
        <p:spPr>
          <a:xfrm>
            <a:off x="6095999" y="52160"/>
            <a:ext cx="3023679" cy="2021064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7" name="Text Placeholder 6">
            <a:extLst>
              <a:ext uri="{FF2B5EF4-FFF2-40B4-BE49-F238E27FC236}">
                <a16:creationId xmlns:a16="http://schemas.microsoft.com/office/drawing/2014/main" id="{50009D01-E784-7940-9433-7787157B284B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9296361" y="2269864"/>
            <a:ext cx="2767599" cy="1725313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 defTabSz="609585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Tx/>
              <a:buNone/>
              <a:defRPr sz="2667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21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13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1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9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lvl="0" indent="0" algn="l" defTabSz="609585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Tx/>
              <a:buNone/>
            </a:pPr>
            <a:r>
              <a:rPr lang="en-US"/>
              <a:t>Click to add text</a:t>
            </a:r>
          </a:p>
          <a:p>
            <a:pPr lvl="1"/>
            <a:r>
              <a:rPr lang="en-US"/>
              <a:t>First level bullet</a:t>
            </a:r>
          </a:p>
        </p:txBody>
      </p:sp>
      <p:sp>
        <p:nvSpPr>
          <p:cNvPr id="24" name="Text Placeholder 6">
            <a:extLst>
              <a:ext uri="{FF2B5EF4-FFF2-40B4-BE49-F238E27FC236}">
                <a16:creationId xmlns:a16="http://schemas.microsoft.com/office/drawing/2014/main" id="{65E2BC70-C993-7948-93D5-A605975A492D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6224039" y="4339689"/>
            <a:ext cx="2767599" cy="1725313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 defTabSz="609585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Tx/>
              <a:buNone/>
              <a:defRPr sz="2667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21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13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1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9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lvl="0" indent="0" algn="l" defTabSz="609585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Tx/>
              <a:buNone/>
            </a:pPr>
            <a:r>
              <a:rPr lang="en-US"/>
              <a:t>Click to add text</a:t>
            </a:r>
          </a:p>
          <a:p>
            <a:pPr lvl="1"/>
            <a:r>
              <a:rPr lang="en-US"/>
              <a:t>First level bullet</a:t>
            </a:r>
          </a:p>
        </p:txBody>
      </p:sp>
      <p:sp>
        <p:nvSpPr>
          <p:cNvPr id="25" name="Text Placeholder 6">
            <a:extLst>
              <a:ext uri="{FF2B5EF4-FFF2-40B4-BE49-F238E27FC236}">
                <a16:creationId xmlns:a16="http://schemas.microsoft.com/office/drawing/2014/main" id="{742007F0-84C9-AF45-8377-8360D6C186DD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6224038" y="200036"/>
            <a:ext cx="2767599" cy="1725313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 defTabSz="609585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Tx/>
              <a:buNone/>
              <a:defRPr sz="2667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21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13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1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9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lvl="0" indent="0" algn="l" defTabSz="609585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Tx/>
              <a:buNone/>
            </a:pPr>
            <a:r>
              <a:rPr lang="en-US"/>
              <a:t>Click to add text</a:t>
            </a:r>
          </a:p>
          <a:p>
            <a:pPr lvl="1"/>
            <a:r>
              <a:rPr lang="en-US"/>
              <a:t>First level bullet</a:t>
            </a:r>
          </a:p>
        </p:txBody>
      </p:sp>
      <p:sp>
        <p:nvSpPr>
          <p:cNvPr id="22" name="Slide Number Placeholder 2">
            <a:extLst>
              <a:ext uri="{FF2B5EF4-FFF2-40B4-BE49-F238E27FC236}">
                <a16:creationId xmlns:a16="http://schemas.microsoft.com/office/drawing/2014/main" id="{E14966DD-602D-9449-8441-2402B1C0BEB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lang="en-US" smtClean="0"/>
            </a:lvl1pPr>
          </a:lstStyle>
          <a:p>
            <a:fld id="{F531C153-56E2-4D58-BF8C-84423A751AD4}" type="slidenum">
              <a:rPr lang="en-US" smtClean="0"/>
              <a:t>‹#›</a:t>
            </a:fld>
            <a:endParaRPr lang="en-US"/>
          </a:p>
        </p:txBody>
      </p:sp>
      <p:sp>
        <p:nvSpPr>
          <p:cNvPr id="20" name="Picture Placeholder 3">
            <a:extLst>
              <a:ext uri="{FF2B5EF4-FFF2-40B4-BE49-F238E27FC236}">
                <a16:creationId xmlns:a16="http://schemas.microsoft.com/office/drawing/2014/main" id="{A5B5A49D-6C8B-9848-BCFC-67FB92C8A7B6}"/>
              </a:ext>
            </a:extLst>
          </p:cNvPr>
          <p:cNvSpPr>
            <a:spLocks noGrp="1"/>
          </p:cNvSpPr>
          <p:nvPr>
            <p:ph type="pic" sz="quarter" idx="51" hasCustomPrompt="1"/>
          </p:nvPr>
        </p:nvSpPr>
        <p:spPr>
          <a:xfrm>
            <a:off x="9168314" y="4191717"/>
            <a:ext cx="3023681" cy="2011587"/>
          </a:xfrm>
          <a:prstGeom prst="rect">
            <a:avLst/>
          </a:prstGeom>
        </p:spPr>
        <p:txBody>
          <a:bodyPr vert="horz" lIns="640080" tIns="45720" rIns="640080" bIns="45720" rtlCol="0" anchor="ctr">
            <a:noAutofit/>
          </a:bodyPr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933">
                <a:solidFill>
                  <a:schemeClr val="bg1"/>
                </a:solidFill>
                <a:highlight>
                  <a:srgbClr val="80B9F9"/>
                </a:highlight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  <p:sp>
        <p:nvSpPr>
          <p:cNvPr id="31" name="Picture Placeholder 3">
            <a:extLst>
              <a:ext uri="{FF2B5EF4-FFF2-40B4-BE49-F238E27FC236}">
                <a16:creationId xmlns:a16="http://schemas.microsoft.com/office/drawing/2014/main" id="{C7BB4615-9821-934F-A145-72E41384C051}"/>
              </a:ext>
            </a:extLst>
          </p:cNvPr>
          <p:cNvSpPr>
            <a:spLocks noGrp="1"/>
          </p:cNvSpPr>
          <p:nvPr>
            <p:ph type="pic" sz="quarter" idx="50" hasCustomPrompt="1"/>
          </p:nvPr>
        </p:nvSpPr>
        <p:spPr>
          <a:xfrm>
            <a:off x="6096001" y="2121989"/>
            <a:ext cx="3023681" cy="2011679"/>
          </a:xfrm>
          <a:prstGeom prst="rect">
            <a:avLst/>
          </a:prstGeom>
        </p:spPr>
        <p:txBody>
          <a:bodyPr vert="horz" lIns="640080" tIns="45720" rIns="640080" bIns="45720" rtlCol="0" anchor="ctr">
            <a:noAutofit/>
          </a:bodyPr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933">
                <a:solidFill>
                  <a:schemeClr val="bg1"/>
                </a:solidFill>
                <a:highlight>
                  <a:srgbClr val="80B9F9"/>
                </a:highlight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  <p:sp>
        <p:nvSpPr>
          <p:cNvPr id="32" name="Picture Placeholder 3">
            <a:extLst>
              <a:ext uri="{FF2B5EF4-FFF2-40B4-BE49-F238E27FC236}">
                <a16:creationId xmlns:a16="http://schemas.microsoft.com/office/drawing/2014/main" id="{C602B7B9-B3ED-A249-99C0-709FBCC21623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9168318" y="52160"/>
            <a:ext cx="3023681" cy="2021064"/>
          </a:xfrm>
          <a:prstGeom prst="rect">
            <a:avLst/>
          </a:prstGeom>
        </p:spPr>
        <p:txBody>
          <a:bodyPr vert="horz" lIns="640080" tIns="45720" rIns="640080" bIns="45720" rtlCol="0" anchor="ctr">
            <a:noAutofit/>
          </a:bodyPr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933">
                <a:solidFill>
                  <a:schemeClr val="bg1"/>
                </a:solidFill>
                <a:highlight>
                  <a:srgbClr val="80B9F9"/>
                </a:highlight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</p:spTree>
    <p:extLst>
      <p:ext uri="{BB962C8B-B14F-4D97-AF65-F5344CB8AC3E}">
        <p14:creationId xmlns:p14="http://schemas.microsoft.com/office/powerpoint/2010/main" val="6322204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497541" y="2231571"/>
            <a:ext cx="9780059" cy="1183904"/>
          </a:xfrm>
        </p:spPr>
        <p:txBody>
          <a:bodyPr anchor="b">
            <a:noAutofit/>
          </a:bodyPr>
          <a:lstStyle>
            <a:lvl1pPr>
              <a:defRPr sz="4800" b="1">
                <a:solidFill>
                  <a:srgbClr val="2573BA"/>
                </a:solidFill>
                <a:latin typeface="Arial"/>
                <a:cs typeface="Arial"/>
              </a:defRPr>
            </a:lvl1pPr>
          </a:lstStyle>
          <a:p>
            <a:r>
              <a:rPr lang="en-US" noProof="0"/>
              <a:t>End Slide</a:t>
            </a:r>
          </a:p>
        </p:txBody>
      </p:sp>
      <p:pic>
        <p:nvPicPr>
          <p:cNvPr id="7" name="Picture 6" descr="logo-02.png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75132" y="1216538"/>
            <a:ext cx="3249091" cy="1078333"/>
          </a:xfrm>
          <a:prstGeom prst="rect">
            <a:avLst/>
          </a:prstGeom>
        </p:spPr>
      </p:pic>
      <p:pic>
        <p:nvPicPr>
          <p:cNvPr id="4" name="Picture 3" descr="logo-02.png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75132" y="1216538"/>
            <a:ext cx="3249091" cy="10783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0601286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42EDCF7D-9269-AA4E-9E5E-747A6D3117D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tx1">
                    <a:lumMod val="50000"/>
                  </a:schemeClr>
                </a:solidFill>
              </a:defRPr>
            </a:lvl1pPr>
          </a:lstStyle>
          <a:p>
            <a:fld id="{AD6BAA4E-5F47-E640-8B90-67FB6D90528D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97993881"/>
      </p:ext>
    </p:extLst>
  </p:cSld>
  <p:clrMapOvr>
    <a:masterClrMapping/>
  </p:clrMapOvr>
  <p:transition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27C3234-2208-4FD5-BA5D-47924B90C3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anchor="t"/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63CCD4CA-6D90-9848-A904-57579E89374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tx1">
                    <a:lumMod val="50000"/>
                  </a:schemeClr>
                </a:solidFill>
              </a:defRPr>
            </a:lvl1pPr>
          </a:lstStyle>
          <a:p>
            <a:fld id="{AD6BAA4E-5F47-E640-8B90-67FB6D90528D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45460540"/>
      </p:ext>
    </p:extLst>
  </p:cSld>
  <p:clrMapOvr>
    <a:masterClrMapping/>
  </p:clrMapOvr>
  <p:transition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9C172BA-80A0-084C-8D77-BD786CD6CD5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3396" y="2581166"/>
            <a:ext cx="8584331" cy="1241901"/>
          </a:xfrm>
        </p:spPr>
        <p:txBody>
          <a:bodyPr anchor="b"/>
          <a:lstStyle/>
          <a:p>
            <a:r>
              <a:rPr lang="en-US"/>
              <a:t>Click to Add Title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8E0F6A47-6FCF-2D45-8749-73DE73FEAC6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83395" y="3823067"/>
            <a:ext cx="8584331" cy="453768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 algn="l" defTabSz="609585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None/>
              <a:defRPr lang="en-US" sz="2133" b="0" i="0" kern="1200" dirty="0">
                <a:solidFill>
                  <a:schemeClr val="accent2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6" name="Slide Number Placeholder 2">
            <a:extLst>
              <a:ext uri="{FF2B5EF4-FFF2-40B4-BE49-F238E27FC236}">
                <a16:creationId xmlns:a16="http://schemas.microsoft.com/office/drawing/2014/main" id="{8FC96775-B94D-464E-985A-D996A2423B4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tx1">
                    <a:lumMod val="50000"/>
                  </a:schemeClr>
                </a:solidFill>
              </a:defRPr>
            </a:lvl1pPr>
          </a:lstStyle>
          <a:p>
            <a:fld id="{AD6BAA4E-5F47-E640-8B90-67FB6D90528D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67131013"/>
      </p:ext>
    </p:extLst>
  </p:cSld>
  <p:clrMapOvr>
    <a:masterClrMapping/>
  </p:clrMapOvr>
  <p:transition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EE0AA4A-BDF6-5B4A-84AE-EDC943B6DD6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83395" y="889000"/>
            <a:ext cx="11425211" cy="453768"/>
          </a:xfrm>
          <a:prstGeom prst="rect">
            <a:avLst/>
          </a:prstGeom>
        </p:spPr>
        <p:txBody>
          <a:bodyPr anchor="b">
            <a:noAutofit/>
          </a:bodyPr>
          <a:lstStyle>
            <a:lvl1pPr>
              <a:defRPr sz="2400" b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73120EF8-EB1B-D946-82B1-CAD0E99BBDD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anchor="t"/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6" name="Slide Number Placeholder 2">
            <a:extLst>
              <a:ext uri="{FF2B5EF4-FFF2-40B4-BE49-F238E27FC236}">
                <a16:creationId xmlns:a16="http://schemas.microsoft.com/office/drawing/2014/main" id="{35EBAD76-79B4-B24A-A3B8-64F088119AD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tx1">
                    <a:lumMod val="50000"/>
                  </a:schemeClr>
                </a:solidFill>
              </a:defRPr>
            </a:lvl1pPr>
          </a:lstStyle>
          <a:p>
            <a:fld id="{AD6BAA4E-5F47-E640-8B90-67FB6D90528D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62138877"/>
      </p:ext>
    </p:extLst>
  </p:cSld>
  <p:clrMapOvr>
    <a:masterClrMapping/>
  </p:clrMapOvr>
  <p:transition>
    <p:fad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CBFDDF4-0565-424E-AFE7-6000EF98D79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anchor="t"/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6" name="Slide Number Placeholder 2">
            <a:extLst>
              <a:ext uri="{FF2B5EF4-FFF2-40B4-BE49-F238E27FC236}">
                <a16:creationId xmlns:a16="http://schemas.microsoft.com/office/drawing/2014/main" id="{3A98224A-A606-0940-AAA5-115D6EA5674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tx1">
                    <a:lumMod val="50000"/>
                  </a:schemeClr>
                </a:solidFill>
              </a:defRPr>
            </a:lvl1pPr>
          </a:lstStyle>
          <a:p>
            <a:fld id="{AD6BAA4E-5F47-E640-8B90-67FB6D90528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5A5E92E6-DAB9-7244-A329-56AAC4FDC3B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83118" y="1230694"/>
            <a:ext cx="11425767" cy="464517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tabLst/>
              <a:defRPr lang="en-US" sz="2400" b="0" i="0" kern="1200" baseline="0" dirty="0" smtClean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2pPr>
            <a:lvl3pPr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tabLst/>
              <a:defRPr lang="en-US" sz="2400" b="0" i="0" kern="1200" baseline="0" dirty="0" smtClean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3pPr>
            <a:lvl4pPr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tabLst/>
              <a:defRPr lang="en-US" sz="2400" b="0" i="0" kern="1200" baseline="0" dirty="0" smtClean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4pPr>
            <a:lvl5pPr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tabLst/>
              <a:defRPr lang="en-US" sz="2400" b="0" i="0" kern="1200" baseline="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5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 First level bullet</a:t>
            </a:r>
          </a:p>
          <a:p>
            <a:pPr lvl="2"/>
            <a:r>
              <a:rPr lang="en-US"/>
              <a:t>Second level bullet</a:t>
            </a:r>
          </a:p>
          <a:p>
            <a:pPr lvl="3"/>
            <a:r>
              <a:rPr lang="en-US"/>
              <a:t>Third level bullet</a:t>
            </a:r>
          </a:p>
          <a:p>
            <a:pPr lvl="4"/>
            <a:r>
              <a:rPr lang="en-US"/>
              <a:t>Fourth level bullet</a:t>
            </a:r>
          </a:p>
        </p:txBody>
      </p:sp>
    </p:spTree>
    <p:extLst>
      <p:ext uri="{BB962C8B-B14F-4D97-AF65-F5344CB8AC3E}">
        <p14:creationId xmlns:p14="http://schemas.microsoft.com/office/powerpoint/2010/main" val="3503729560"/>
      </p:ext>
    </p:extLst>
  </p:cSld>
  <p:clrMapOvr>
    <a:masterClrMapping/>
  </p:clrMapOvr>
  <p:transition>
    <p:fade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EE0AA4A-BDF6-5B4A-84AE-EDC943B6DD6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83395" y="889001"/>
            <a:ext cx="11425211" cy="459740"/>
          </a:xfrm>
          <a:prstGeom prst="rect">
            <a:avLst/>
          </a:prstGeom>
        </p:spPr>
        <p:txBody>
          <a:bodyPr anchor="b">
            <a:noAutofit/>
          </a:bodyPr>
          <a:lstStyle>
            <a:lvl1pPr>
              <a:defRPr lang="en-US" sz="2400" b="0" i="0" kern="1200" dirty="0">
                <a:solidFill>
                  <a:schemeClr val="accent2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</a:lstStyle>
          <a:p>
            <a:pPr marL="0" lvl="0" indent="0" algn="l" defTabSz="609585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None/>
            </a:pPr>
            <a:r>
              <a:rPr lang="en-US"/>
              <a:t>Click to add subtitle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05520C5E-DF02-6749-84F3-5F328EE0B41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anchor="t"/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8" name="Slide Number Placeholder 2">
            <a:extLst>
              <a:ext uri="{FF2B5EF4-FFF2-40B4-BE49-F238E27FC236}">
                <a16:creationId xmlns:a16="http://schemas.microsoft.com/office/drawing/2014/main" id="{C4B36BC7-8B75-BA47-9787-5E536ADC898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tx1">
                    <a:lumMod val="50000"/>
                  </a:schemeClr>
                </a:solidFill>
              </a:defRPr>
            </a:lvl1pPr>
          </a:lstStyle>
          <a:p>
            <a:fld id="{AD6BAA4E-5F47-E640-8B90-67FB6D90528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3D501B10-55DF-614B-B761-F203A01BC16F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83394" y="1348739"/>
            <a:ext cx="11425209" cy="452712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 lang="en-US" dirty="0"/>
            </a:lvl1pPr>
            <a:lvl2pPr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ct val="90000"/>
              <a:tabLst/>
              <a:defRPr lang="en-US" sz="2400" b="0" i="0" kern="1200" baseline="0" dirty="0" smtClean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2pPr>
            <a:lvl3pPr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ct val="90000"/>
              <a:tabLst/>
              <a:defRPr lang="en-US" sz="2400" b="0" i="0" kern="1200" baseline="0" dirty="0" smtClean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3pPr>
            <a:lvl4pPr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ct val="90000"/>
              <a:tabLst/>
              <a:defRPr lang="en-US" sz="2400" b="0" i="0" kern="1200" baseline="0" dirty="0" smtClean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4pPr>
            <a:lvl5pPr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ct val="90000"/>
              <a:tabLst/>
              <a:defRPr lang="en-US" sz="2400" b="0" i="0" kern="1200" baseline="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5pPr>
          </a:lstStyle>
          <a:p>
            <a:pPr lvl="1"/>
            <a:r>
              <a:rPr lang="en-US"/>
              <a:t>First level bullet</a:t>
            </a:r>
          </a:p>
          <a:p>
            <a:pPr lvl="2"/>
            <a:r>
              <a:rPr lang="en-US"/>
              <a:t>Second level bullet</a:t>
            </a:r>
          </a:p>
          <a:p>
            <a:pPr lvl="3"/>
            <a:r>
              <a:rPr lang="en-US"/>
              <a:t>Third level bullet</a:t>
            </a:r>
          </a:p>
          <a:p>
            <a:pPr lvl="4"/>
            <a:r>
              <a:rPr lang="en-US"/>
              <a:t>Fourth level bullet</a:t>
            </a:r>
          </a:p>
        </p:txBody>
      </p:sp>
    </p:spTree>
    <p:extLst>
      <p:ext uri="{BB962C8B-B14F-4D97-AF65-F5344CB8AC3E}">
        <p14:creationId xmlns:p14="http://schemas.microsoft.com/office/powerpoint/2010/main" val="3484497580"/>
      </p:ext>
    </p:extLst>
  </p:cSld>
  <p:clrMapOvr>
    <a:masterClrMapping/>
  </p:clrMapOvr>
  <p:transition>
    <p:fade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SLID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82E39ED2-23E6-0241-83F5-E697607FBF52}"/>
              </a:ext>
            </a:extLst>
          </p:cNvPr>
          <p:cNvSpPr/>
          <p:nvPr/>
        </p:nvSpPr>
        <p:spPr>
          <a:xfrm>
            <a:off x="6096000" y="1"/>
            <a:ext cx="6096000" cy="6270172"/>
          </a:xfrm>
          <a:prstGeom prst="rect">
            <a:avLst/>
          </a:prstGeom>
          <a:solidFill>
            <a:srgbClr val="EBEBE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CBFDDF4-0565-424E-AFE7-6000EF98D79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3397" y="204645"/>
            <a:ext cx="5291473" cy="1235172"/>
          </a:xfrm>
        </p:spPr>
        <p:txBody>
          <a:bodyPr anchor="t"/>
          <a:lstStyle>
            <a:lvl1pPr>
              <a:defRPr>
                <a:solidFill>
                  <a:srgbClr val="0088D0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26" name="Slide Number Placeholder 2">
            <a:extLst>
              <a:ext uri="{FF2B5EF4-FFF2-40B4-BE49-F238E27FC236}">
                <a16:creationId xmlns:a16="http://schemas.microsoft.com/office/drawing/2014/main" id="{0718C526-12AA-2C44-880E-5AA773E614E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tx1">
                    <a:lumMod val="50000"/>
                  </a:schemeClr>
                </a:solidFill>
              </a:defRPr>
            </a:lvl1pPr>
          </a:lstStyle>
          <a:p>
            <a:fld id="{AD6BAA4E-5F47-E640-8B90-67FB6D90528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7" name="Text Placeholder 3">
            <a:extLst>
              <a:ext uri="{FF2B5EF4-FFF2-40B4-BE49-F238E27FC236}">
                <a16:creationId xmlns:a16="http://schemas.microsoft.com/office/drawing/2014/main" id="{B73775D3-73E3-5A4A-9F2B-35707D56A1E6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383395" y="1436911"/>
            <a:ext cx="5268251" cy="4267965"/>
          </a:xfrm>
        </p:spPr>
        <p:txBody>
          <a:bodyPr/>
          <a:lstStyle>
            <a:lvl1pPr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tabLst/>
              <a:defRPr lang="en-US" sz="2400" b="0" i="0" kern="1200" baseline="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tabLst/>
              <a:defRPr lang="en-US" sz="2400" b="0" i="0" kern="1200" baseline="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2pPr>
            <a:lvl3pPr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tabLst/>
              <a:defRPr lang="en-US" sz="2400" b="0" i="0" kern="1200" baseline="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3pPr>
            <a:lvl4pPr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tabLst/>
              <a:defRPr lang="en-US" sz="2400" b="0" i="0" kern="1200" baseline="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4pPr>
            <a:lvl5pPr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tabLst/>
              <a:defRPr lang="en-US" sz="2400" b="0" i="0" kern="1200" baseline="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5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First level bullet</a:t>
            </a:r>
          </a:p>
          <a:p>
            <a:pPr lvl="2"/>
            <a:r>
              <a:rPr lang="en-US"/>
              <a:t>Second level bullet</a:t>
            </a:r>
          </a:p>
          <a:p>
            <a:pPr lvl="3"/>
            <a:r>
              <a:rPr lang="en-US"/>
              <a:t>Third level bullet</a:t>
            </a:r>
          </a:p>
          <a:p>
            <a:pPr lvl="4"/>
            <a:r>
              <a:rPr lang="en-US"/>
              <a:t>Fourth level bullet</a:t>
            </a:r>
          </a:p>
        </p:txBody>
      </p:sp>
      <p:sp>
        <p:nvSpPr>
          <p:cNvPr id="46" name="Text Placeholder 4">
            <a:extLst>
              <a:ext uri="{FF2B5EF4-FFF2-40B4-BE49-F238E27FC236}">
                <a16:creationId xmlns:a16="http://schemas.microsoft.com/office/drawing/2014/main" id="{77947070-1902-C34A-B363-7AFB1DCEB3D6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7796247" y="365895"/>
            <a:ext cx="3756416" cy="449280"/>
          </a:xfrm>
          <a:prstGeom prst="rect">
            <a:avLst/>
          </a:prstGeom>
        </p:spPr>
        <p:txBody>
          <a:bodyPr lIns="0" bIns="0" anchor="b"/>
          <a:lstStyle>
            <a:lvl1pPr>
              <a:defRPr sz="1867" b="1">
                <a:solidFill>
                  <a:schemeClr val="accent2"/>
                </a:solidFill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47" name="Text Placeholder 8">
            <a:extLst>
              <a:ext uri="{FF2B5EF4-FFF2-40B4-BE49-F238E27FC236}">
                <a16:creationId xmlns:a16="http://schemas.microsoft.com/office/drawing/2014/main" id="{6A845606-4C09-7B47-91AE-7D6055144D48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6681472" y="365899"/>
            <a:ext cx="901721" cy="924764"/>
          </a:xfrm>
          <a:prstGeom prst="rect">
            <a:avLst/>
          </a:prstGeom>
        </p:spPr>
        <p:txBody>
          <a:bodyPr vert="horz" lIns="91440" tIns="45720" rIns="0" bIns="0" rtlCol="0" anchor="ctr">
            <a:noAutofit/>
          </a:bodyPr>
          <a:lstStyle>
            <a:lvl1pPr algn="r">
              <a:defRPr lang="en-US" sz="4267" b="1" dirty="0">
                <a:solidFill>
                  <a:schemeClr val="accent2"/>
                </a:solidFill>
              </a:defRPr>
            </a:lvl1pPr>
          </a:lstStyle>
          <a:p>
            <a:pPr lvl="0" algn="ctr"/>
            <a:r>
              <a:rPr lang="en-US"/>
              <a:t>01</a:t>
            </a:r>
          </a:p>
        </p:txBody>
      </p:sp>
      <p:sp>
        <p:nvSpPr>
          <p:cNvPr id="48" name="Text Placeholder 4">
            <a:extLst>
              <a:ext uri="{FF2B5EF4-FFF2-40B4-BE49-F238E27FC236}">
                <a16:creationId xmlns:a16="http://schemas.microsoft.com/office/drawing/2014/main" id="{E456185D-FF19-8541-A068-B5DD062C2BE3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7796247" y="841383"/>
            <a:ext cx="3756416" cy="449280"/>
          </a:xfrm>
          <a:prstGeom prst="rect">
            <a:avLst/>
          </a:prstGeom>
        </p:spPr>
        <p:txBody>
          <a:bodyPr lIns="0" tIns="0" anchor="t"/>
          <a:lstStyle>
            <a:lvl1pPr>
              <a:defRPr sz="1600">
                <a:solidFill>
                  <a:schemeClr val="tx1"/>
                </a:solidFill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49" name="Text Placeholder 4">
            <a:extLst>
              <a:ext uri="{FF2B5EF4-FFF2-40B4-BE49-F238E27FC236}">
                <a16:creationId xmlns:a16="http://schemas.microsoft.com/office/drawing/2014/main" id="{624D225B-9F04-714D-AFF8-F149729D74B0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7796246" y="1544409"/>
            <a:ext cx="3756417" cy="449280"/>
          </a:xfrm>
          <a:prstGeom prst="rect">
            <a:avLst/>
          </a:prstGeom>
        </p:spPr>
        <p:txBody>
          <a:bodyPr lIns="0" bIns="0" anchor="b"/>
          <a:lstStyle>
            <a:lvl1pPr>
              <a:defRPr lang="en-US" sz="1867" b="1" i="0" kern="1200" dirty="0">
                <a:solidFill>
                  <a:schemeClr val="tx2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52" name="Text Placeholder 8">
            <a:extLst>
              <a:ext uri="{FF2B5EF4-FFF2-40B4-BE49-F238E27FC236}">
                <a16:creationId xmlns:a16="http://schemas.microsoft.com/office/drawing/2014/main" id="{08EFE069-4171-7244-B877-AFFD789EEB05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6686557" y="1544411"/>
            <a:ext cx="896636" cy="924767"/>
          </a:xfrm>
          <a:prstGeom prst="rect">
            <a:avLst/>
          </a:prstGeom>
        </p:spPr>
        <p:txBody>
          <a:bodyPr vert="horz" lIns="91440" tIns="45720" rIns="0" bIns="0" rtlCol="0" anchor="ctr">
            <a:noAutofit/>
          </a:bodyPr>
          <a:lstStyle>
            <a:lvl1pPr algn="r">
              <a:defRPr lang="en-US" sz="4267" b="1" i="0" kern="1200" dirty="0">
                <a:solidFill>
                  <a:schemeClr val="tx2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</a:lstStyle>
          <a:p>
            <a:pPr marL="0" lvl="0" indent="0" algn="ctr" defTabSz="609585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None/>
            </a:pPr>
            <a:r>
              <a:rPr lang="en-US"/>
              <a:t>02</a:t>
            </a:r>
          </a:p>
        </p:txBody>
      </p:sp>
      <p:sp>
        <p:nvSpPr>
          <p:cNvPr id="53" name="Text Placeholder 4">
            <a:extLst>
              <a:ext uri="{FF2B5EF4-FFF2-40B4-BE49-F238E27FC236}">
                <a16:creationId xmlns:a16="http://schemas.microsoft.com/office/drawing/2014/main" id="{E084C68E-CF7B-324C-87D6-F4823074796F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7796246" y="2019897"/>
            <a:ext cx="3756417" cy="449280"/>
          </a:xfrm>
          <a:prstGeom prst="rect">
            <a:avLst/>
          </a:prstGeom>
        </p:spPr>
        <p:txBody>
          <a:bodyPr lIns="0" tIns="0" anchor="t"/>
          <a:lstStyle>
            <a:lvl1pPr>
              <a:defRPr lang="en-US" sz="1600" b="0" i="0" kern="120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marL="0" lvl="0" indent="0" algn="l" defTabSz="609585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None/>
            </a:pPr>
            <a:r>
              <a:rPr lang="en-US"/>
              <a:t>Click to add text</a:t>
            </a:r>
          </a:p>
        </p:txBody>
      </p:sp>
      <p:sp>
        <p:nvSpPr>
          <p:cNvPr id="54" name="Text Placeholder 4">
            <a:extLst>
              <a:ext uri="{FF2B5EF4-FFF2-40B4-BE49-F238E27FC236}">
                <a16:creationId xmlns:a16="http://schemas.microsoft.com/office/drawing/2014/main" id="{CB8D0F78-50C4-F543-85FF-5BA65DE2A34E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7796244" y="2720028"/>
            <a:ext cx="3756419" cy="449280"/>
          </a:xfrm>
          <a:prstGeom prst="rect">
            <a:avLst/>
          </a:prstGeom>
        </p:spPr>
        <p:txBody>
          <a:bodyPr lIns="0" bIns="0" anchor="b"/>
          <a:lstStyle>
            <a:lvl1pPr>
              <a:defRPr lang="en-US" sz="1867" b="1" i="0" kern="1200" dirty="0">
                <a:solidFill>
                  <a:schemeClr val="accent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55" name="Text Placeholder 8">
            <a:extLst>
              <a:ext uri="{FF2B5EF4-FFF2-40B4-BE49-F238E27FC236}">
                <a16:creationId xmlns:a16="http://schemas.microsoft.com/office/drawing/2014/main" id="{82832329-63A7-BF45-B050-766E70E968BE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6686556" y="2720028"/>
            <a:ext cx="896637" cy="924768"/>
          </a:xfrm>
          <a:prstGeom prst="rect">
            <a:avLst/>
          </a:prstGeom>
        </p:spPr>
        <p:txBody>
          <a:bodyPr vert="horz" lIns="91440" tIns="45720" rIns="0" bIns="0" rtlCol="0" anchor="ctr">
            <a:noAutofit/>
          </a:bodyPr>
          <a:lstStyle>
            <a:lvl1pPr algn="r">
              <a:defRPr lang="en-US" sz="4267" b="1" dirty="0">
                <a:solidFill>
                  <a:schemeClr val="accent1"/>
                </a:solidFill>
              </a:defRPr>
            </a:lvl1pPr>
          </a:lstStyle>
          <a:p>
            <a:pPr lvl="0" algn="ctr"/>
            <a:r>
              <a:rPr lang="en-US"/>
              <a:t>03</a:t>
            </a:r>
          </a:p>
        </p:txBody>
      </p:sp>
      <p:sp>
        <p:nvSpPr>
          <p:cNvPr id="56" name="Text Placeholder 4">
            <a:extLst>
              <a:ext uri="{FF2B5EF4-FFF2-40B4-BE49-F238E27FC236}">
                <a16:creationId xmlns:a16="http://schemas.microsoft.com/office/drawing/2014/main" id="{9CB38CAF-FA73-6C49-BE7B-46CA8F390F41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7796244" y="3195516"/>
            <a:ext cx="3756419" cy="449280"/>
          </a:xfrm>
          <a:prstGeom prst="rect">
            <a:avLst/>
          </a:prstGeom>
        </p:spPr>
        <p:txBody>
          <a:bodyPr lIns="0" tIns="0" anchor="t"/>
          <a:lstStyle>
            <a:lvl1pPr>
              <a:defRPr lang="en-US" sz="1600" b="0" i="0" kern="120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marL="0" lvl="0" indent="0" algn="l" defTabSz="609585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None/>
            </a:pPr>
            <a:r>
              <a:rPr lang="en-US"/>
              <a:t>Click to add text</a:t>
            </a:r>
          </a:p>
        </p:txBody>
      </p:sp>
      <p:sp>
        <p:nvSpPr>
          <p:cNvPr id="57" name="Text Placeholder 4">
            <a:extLst>
              <a:ext uri="{FF2B5EF4-FFF2-40B4-BE49-F238E27FC236}">
                <a16:creationId xmlns:a16="http://schemas.microsoft.com/office/drawing/2014/main" id="{C96EC02E-5ABF-854A-B653-AADDB48C566E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7796244" y="3895647"/>
            <a:ext cx="3756419" cy="449280"/>
          </a:xfrm>
          <a:prstGeom prst="rect">
            <a:avLst/>
          </a:prstGeom>
        </p:spPr>
        <p:txBody>
          <a:bodyPr lIns="0" bIns="0" anchor="b"/>
          <a:lstStyle>
            <a:lvl1pPr>
              <a:defRPr lang="en-US" sz="1867" b="1" i="0" kern="1200" dirty="0">
                <a:solidFill>
                  <a:schemeClr val="accent3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58" name="Text Placeholder 8">
            <a:extLst>
              <a:ext uri="{FF2B5EF4-FFF2-40B4-BE49-F238E27FC236}">
                <a16:creationId xmlns:a16="http://schemas.microsoft.com/office/drawing/2014/main" id="{C77E619A-6B1D-3E4E-A2EF-17185F85FA2C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6681472" y="3895647"/>
            <a:ext cx="901721" cy="924768"/>
          </a:xfrm>
          <a:prstGeom prst="rect">
            <a:avLst/>
          </a:prstGeom>
        </p:spPr>
        <p:txBody>
          <a:bodyPr vert="horz" lIns="91440" tIns="45720" rIns="0" bIns="0" rtlCol="0" anchor="ctr">
            <a:noAutofit/>
          </a:bodyPr>
          <a:lstStyle>
            <a:lvl1pPr algn="r">
              <a:defRPr lang="en-US" sz="4267" b="1" dirty="0">
                <a:solidFill>
                  <a:schemeClr val="accent3"/>
                </a:solidFill>
              </a:defRPr>
            </a:lvl1pPr>
          </a:lstStyle>
          <a:p>
            <a:pPr lvl="0" algn="ctr"/>
            <a:r>
              <a:rPr lang="en-US"/>
              <a:t>04</a:t>
            </a:r>
          </a:p>
        </p:txBody>
      </p:sp>
      <p:sp>
        <p:nvSpPr>
          <p:cNvPr id="59" name="Text Placeholder 4">
            <a:extLst>
              <a:ext uri="{FF2B5EF4-FFF2-40B4-BE49-F238E27FC236}">
                <a16:creationId xmlns:a16="http://schemas.microsoft.com/office/drawing/2014/main" id="{D58CA01A-723C-4046-9758-E6D93FF9B692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7796244" y="4371135"/>
            <a:ext cx="3756419" cy="449280"/>
          </a:xfrm>
          <a:prstGeom prst="rect">
            <a:avLst/>
          </a:prstGeom>
        </p:spPr>
        <p:txBody>
          <a:bodyPr lIns="0" tIns="0" anchor="t"/>
          <a:lstStyle>
            <a:lvl1pPr>
              <a:defRPr lang="en-US" sz="1600" b="0" i="0" kern="120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marL="0" lvl="0" indent="0" algn="l" defTabSz="609585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None/>
            </a:pPr>
            <a:r>
              <a:rPr lang="en-US"/>
              <a:t>Click to add text</a:t>
            </a:r>
          </a:p>
        </p:txBody>
      </p:sp>
      <p:sp>
        <p:nvSpPr>
          <p:cNvPr id="60" name="Text Placeholder 4">
            <a:extLst>
              <a:ext uri="{FF2B5EF4-FFF2-40B4-BE49-F238E27FC236}">
                <a16:creationId xmlns:a16="http://schemas.microsoft.com/office/drawing/2014/main" id="{B50C03F9-CEA7-0C43-81D4-6673168D9868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7796244" y="5071265"/>
            <a:ext cx="3756419" cy="449280"/>
          </a:xfrm>
          <a:prstGeom prst="rect">
            <a:avLst/>
          </a:prstGeom>
        </p:spPr>
        <p:txBody>
          <a:bodyPr lIns="0" bIns="0" anchor="b"/>
          <a:lstStyle>
            <a:lvl1pPr>
              <a:defRPr lang="en-US" sz="1867" b="1" i="0" kern="1200" dirty="0">
                <a:solidFill>
                  <a:schemeClr val="bg2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61" name="Text Placeholder 8">
            <a:extLst>
              <a:ext uri="{FF2B5EF4-FFF2-40B4-BE49-F238E27FC236}">
                <a16:creationId xmlns:a16="http://schemas.microsoft.com/office/drawing/2014/main" id="{F043B21C-F56F-C64E-956F-1915E3F9039B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6686556" y="5071267"/>
            <a:ext cx="896637" cy="924767"/>
          </a:xfrm>
          <a:prstGeom prst="rect">
            <a:avLst/>
          </a:prstGeom>
        </p:spPr>
        <p:txBody>
          <a:bodyPr vert="horz" lIns="91440" tIns="45720" rIns="0" bIns="0" rtlCol="0" anchor="ctr">
            <a:noAutofit/>
          </a:bodyPr>
          <a:lstStyle>
            <a:lvl1pPr algn="r">
              <a:defRPr lang="en-US" sz="4267" b="1" dirty="0">
                <a:solidFill>
                  <a:schemeClr val="bg2"/>
                </a:solidFill>
              </a:defRPr>
            </a:lvl1pPr>
          </a:lstStyle>
          <a:p>
            <a:pPr lvl="0" algn="ctr"/>
            <a:r>
              <a:rPr lang="en-US"/>
              <a:t>05</a:t>
            </a:r>
          </a:p>
        </p:txBody>
      </p:sp>
      <p:sp>
        <p:nvSpPr>
          <p:cNvPr id="62" name="Text Placeholder 4">
            <a:extLst>
              <a:ext uri="{FF2B5EF4-FFF2-40B4-BE49-F238E27FC236}">
                <a16:creationId xmlns:a16="http://schemas.microsoft.com/office/drawing/2014/main" id="{91E7CAC7-0962-7643-9283-7380AF6F074B}"/>
              </a:ext>
            </a:extLst>
          </p:cNvPr>
          <p:cNvSpPr>
            <a:spLocks noGrp="1"/>
          </p:cNvSpPr>
          <p:nvPr>
            <p:ph type="body" sz="quarter" idx="63" hasCustomPrompt="1"/>
          </p:nvPr>
        </p:nvSpPr>
        <p:spPr>
          <a:xfrm>
            <a:off x="7796244" y="5546753"/>
            <a:ext cx="3756419" cy="449280"/>
          </a:xfrm>
          <a:prstGeom prst="rect">
            <a:avLst/>
          </a:prstGeom>
        </p:spPr>
        <p:txBody>
          <a:bodyPr lIns="0" tIns="0" anchor="t"/>
          <a:lstStyle>
            <a:lvl1pPr>
              <a:defRPr lang="en-US" sz="1600" b="0" i="0" kern="120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marL="0" lvl="0" indent="0" algn="l" defTabSz="609585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None/>
            </a:pPr>
            <a:r>
              <a:rPr lang="en-US"/>
              <a:t>Click to add text</a:t>
            </a:r>
          </a:p>
        </p:txBody>
      </p: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EC512AA8-C01C-3F41-B49B-C4C3580BD86C}"/>
              </a:ext>
            </a:extLst>
          </p:cNvPr>
          <p:cNvCxnSpPr>
            <a:cxnSpLocks/>
          </p:cNvCxnSpPr>
          <p:nvPr/>
        </p:nvCxnSpPr>
        <p:spPr>
          <a:xfrm>
            <a:off x="7689720" y="5237316"/>
            <a:ext cx="0" cy="592667"/>
          </a:xfrm>
          <a:prstGeom prst="line">
            <a:avLst/>
          </a:prstGeom>
          <a:ln w="19050" cap="rnd" cmpd="sng">
            <a:solidFill>
              <a:schemeClr val="bg1">
                <a:lumMod val="50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4" name="Straight Connector 63">
            <a:extLst>
              <a:ext uri="{FF2B5EF4-FFF2-40B4-BE49-F238E27FC236}">
                <a16:creationId xmlns:a16="http://schemas.microsoft.com/office/drawing/2014/main" id="{72D12588-8A5D-334B-8F94-8D2D02EAD531}"/>
              </a:ext>
            </a:extLst>
          </p:cNvPr>
          <p:cNvCxnSpPr>
            <a:cxnSpLocks/>
          </p:cNvCxnSpPr>
          <p:nvPr/>
        </p:nvCxnSpPr>
        <p:spPr>
          <a:xfrm>
            <a:off x="7689720" y="4061697"/>
            <a:ext cx="0" cy="592667"/>
          </a:xfrm>
          <a:prstGeom prst="line">
            <a:avLst/>
          </a:prstGeom>
          <a:ln w="19050" cap="rnd" cmpd="sng">
            <a:solidFill>
              <a:schemeClr val="bg1">
                <a:lumMod val="50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5" name="Straight Connector 64">
            <a:extLst>
              <a:ext uri="{FF2B5EF4-FFF2-40B4-BE49-F238E27FC236}">
                <a16:creationId xmlns:a16="http://schemas.microsoft.com/office/drawing/2014/main" id="{727D1026-758A-494E-AFEA-83D3CE9B1CAB}"/>
              </a:ext>
            </a:extLst>
          </p:cNvPr>
          <p:cNvCxnSpPr>
            <a:cxnSpLocks/>
          </p:cNvCxnSpPr>
          <p:nvPr/>
        </p:nvCxnSpPr>
        <p:spPr>
          <a:xfrm>
            <a:off x="7689720" y="2886079"/>
            <a:ext cx="0" cy="592667"/>
          </a:xfrm>
          <a:prstGeom prst="line">
            <a:avLst/>
          </a:prstGeom>
          <a:ln w="19050" cap="rnd" cmpd="sng">
            <a:solidFill>
              <a:schemeClr val="bg1">
                <a:lumMod val="50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6" name="Straight Connector 65">
            <a:extLst>
              <a:ext uri="{FF2B5EF4-FFF2-40B4-BE49-F238E27FC236}">
                <a16:creationId xmlns:a16="http://schemas.microsoft.com/office/drawing/2014/main" id="{439C2D25-61EE-5346-B40A-89CD93341643}"/>
              </a:ext>
            </a:extLst>
          </p:cNvPr>
          <p:cNvCxnSpPr>
            <a:cxnSpLocks/>
          </p:cNvCxnSpPr>
          <p:nvPr/>
        </p:nvCxnSpPr>
        <p:spPr>
          <a:xfrm>
            <a:off x="7689720" y="1710460"/>
            <a:ext cx="0" cy="592667"/>
          </a:xfrm>
          <a:prstGeom prst="line">
            <a:avLst/>
          </a:prstGeom>
          <a:ln w="19050" cap="rnd" cmpd="sng">
            <a:solidFill>
              <a:schemeClr val="bg1">
                <a:lumMod val="50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7" name="Straight Connector 66">
            <a:extLst>
              <a:ext uri="{FF2B5EF4-FFF2-40B4-BE49-F238E27FC236}">
                <a16:creationId xmlns:a16="http://schemas.microsoft.com/office/drawing/2014/main" id="{05EC1DF7-360B-CE41-BB7A-CD718A64DD07}"/>
              </a:ext>
            </a:extLst>
          </p:cNvPr>
          <p:cNvCxnSpPr>
            <a:cxnSpLocks/>
          </p:cNvCxnSpPr>
          <p:nvPr/>
        </p:nvCxnSpPr>
        <p:spPr>
          <a:xfrm>
            <a:off x="7689720" y="531947"/>
            <a:ext cx="0" cy="592667"/>
          </a:xfrm>
          <a:prstGeom prst="line">
            <a:avLst/>
          </a:prstGeom>
          <a:ln w="19050" cap="rnd" cmpd="sng">
            <a:solidFill>
              <a:schemeClr val="bg1">
                <a:lumMod val="50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18615641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1945">
          <p15:clr>
            <a:srgbClr val="FBAE40"/>
          </p15:clr>
        </p15:guide>
        <p15:guide id="2" pos="2754">
          <p15:clr>
            <a:srgbClr val="FBAE40"/>
          </p15:clr>
        </p15:guide>
        <p15:guide id="3" orient="horz" pos="2156">
          <p15:clr>
            <a:srgbClr val="FBAE40"/>
          </p15:clr>
        </p15:guide>
        <p15:guide id="4" orient="horz" pos="2500">
          <p15:clr>
            <a:srgbClr val="FBAE40"/>
          </p15:clr>
        </p15:guide>
        <p15:guide id="5" orient="horz" pos="2711">
          <p15:clr>
            <a:srgbClr val="FBAE40"/>
          </p15:clr>
        </p15:guide>
        <p15:guide id="6" orient="horz" pos="1601">
          <p15:clr>
            <a:srgbClr val="FBAE40"/>
          </p15:clr>
        </p15:guide>
        <p15:guide id="7" orient="horz" pos="1390">
          <p15:clr>
            <a:srgbClr val="FBAE40"/>
          </p15:clr>
        </p15:guide>
        <p15:guide id="8" orient="horz" pos="1046">
          <p15:clr>
            <a:srgbClr val="FBAE40"/>
          </p15:clr>
        </p15:guide>
        <p15:guide id="9" orient="horz" pos="832">
          <p15:clr>
            <a:srgbClr val="FBAE40"/>
          </p15:clr>
        </p15:guide>
        <p15:guide id="10" orient="horz" pos="489">
          <p15:clr>
            <a:srgbClr val="FBAE40"/>
          </p15:clr>
        </p15:guide>
        <p15:guide id="11" orient="horz" pos="277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AGENDA SLID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Picture 22" descr="A person sitting at a table with a computer and smiling at the camera&#10;&#10;Description automatically generated">
            <a:extLst>
              <a:ext uri="{FF2B5EF4-FFF2-40B4-BE49-F238E27FC236}">
                <a16:creationId xmlns:a16="http://schemas.microsoft.com/office/drawing/2014/main" id="{ABCD22AB-6F7C-1C47-8F78-ED2F31A4F6D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962709" y="1"/>
            <a:ext cx="4229291" cy="6270169"/>
          </a:xfrm>
          <a:prstGeom prst="rect">
            <a:avLst/>
          </a:prstGeom>
        </p:spPr>
      </p:pic>
      <p:pic>
        <p:nvPicPr>
          <p:cNvPr id="29" name="Picture 28" descr="A picture containing sitting, fireworks, grass, water&#10;&#10;Description automatically generated">
            <a:extLst>
              <a:ext uri="{FF2B5EF4-FFF2-40B4-BE49-F238E27FC236}">
                <a16:creationId xmlns:a16="http://schemas.microsoft.com/office/drawing/2014/main" id="{55F80DF2-2C7A-8E42-9978-D60FFA22FCAD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1291" r="66084" b="433"/>
          <a:stretch/>
        </p:blipFill>
        <p:spPr>
          <a:xfrm>
            <a:off x="6113377" y="1"/>
            <a:ext cx="2531843" cy="6270169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4CBFDDF4-0565-424E-AFE7-6000EF98D79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5705" y="204645"/>
            <a:ext cx="5514623" cy="684355"/>
          </a:xfrm>
        </p:spPr>
        <p:txBody>
          <a:bodyPr anchor="t"/>
          <a:lstStyle/>
          <a:p>
            <a:r>
              <a:rPr lang="en-US"/>
              <a:t>Click to Add Title</a:t>
            </a:r>
          </a:p>
        </p:txBody>
      </p:sp>
      <p:sp>
        <p:nvSpPr>
          <p:cNvPr id="119" name="Text Placeholder 4">
            <a:extLst>
              <a:ext uri="{FF2B5EF4-FFF2-40B4-BE49-F238E27FC236}">
                <a16:creationId xmlns:a16="http://schemas.microsoft.com/office/drawing/2014/main" id="{FA793AB3-DCD5-0640-A2DA-896E5335DB09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1500480" y="1377493"/>
            <a:ext cx="3756416" cy="449280"/>
          </a:xfrm>
          <a:prstGeom prst="rect">
            <a:avLst/>
          </a:prstGeom>
        </p:spPr>
        <p:txBody>
          <a:bodyPr lIns="0" bIns="0" anchor="b"/>
          <a:lstStyle>
            <a:lvl1pPr>
              <a:defRPr sz="1867" b="1">
                <a:solidFill>
                  <a:schemeClr val="accent3"/>
                </a:solidFill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20" name="Text Placeholder 8">
            <a:extLst>
              <a:ext uri="{FF2B5EF4-FFF2-40B4-BE49-F238E27FC236}">
                <a16:creationId xmlns:a16="http://schemas.microsoft.com/office/drawing/2014/main" id="{3E0D0984-A55E-2841-B60B-21DE166D6C97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385705" y="1377498"/>
            <a:ext cx="901721" cy="924764"/>
          </a:xfrm>
          <a:prstGeom prst="rect">
            <a:avLst/>
          </a:prstGeom>
        </p:spPr>
        <p:txBody>
          <a:bodyPr vert="horz" lIns="91440" tIns="45720" rIns="0" bIns="0" rtlCol="0" anchor="ctr">
            <a:noAutofit/>
          </a:bodyPr>
          <a:lstStyle>
            <a:lvl1pPr algn="r">
              <a:defRPr lang="en-US" sz="4267" b="1" dirty="0">
                <a:solidFill>
                  <a:schemeClr val="accent3"/>
                </a:solidFill>
              </a:defRPr>
            </a:lvl1pPr>
          </a:lstStyle>
          <a:p>
            <a:pPr lvl="0" algn="ctr"/>
            <a:r>
              <a:rPr lang="en-US"/>
              <a:t>01</a:t>
            </a:r>
          </a:p>
        </p:txBody>
      </p:sp>
      <p:sp>
        <p:nvSpPr>
          <p:cNvPr id="121" name="Text Placeholder 4">
            <a:extLst>
              <a:ext uri="{FF2B5EF4-FFF2-40B4-BE49-F238E27FC236}">
                <a16:creationId xmlns:a16="http://schemas.microsoft.com/office/drawing/2014/main" id="{38D71896-0420-2442-8989-13784C60FD43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1500480" y="1852981"/>
            <a:ext cx="3756416" cy="449280"/>
          </a:xfrm>
          <a:prstGeom prst="rect">
            <a:avLst/>
          </a:prstGeom>
        </p:spPr>
        <p:txBody>
          <a:bodyPr lIns="0" tIns="0" anchor="t"/>
          <a:lstStyle>
            <a:lvl1pPr>
              <a:defRPr sz="1600">
                <a:solidFill>
                  <a:schemeClr val="tx1"/>
                </a:solidFill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22" name="Text Placeholder 4">
            <a:extLst>
              <a:ext uri="{FF2B5EF4-FFF2-40B4-BE49-F238E27FC236}">
                <a16:creationId xmlns:a16="http://schemas.microsoft.com/office/drawing/2014/main" id="{2B143784-D8F6-E940-9FF9-DF2980164564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1500480" y="2556008"/>
            <a:ext cx="3756417" cy="449280"/>
          </a:xfrm>
          <a:prstGeom prst="rect">
            <a:avLst/>
          </a:prstGeom>
        </p:spPr>
        <p:txBody>
          <a:bodyPr lIns="0" bIns="0" anchor="b"/>
          <a:lstStyle>
            <a:lvl1pPr>
              <a:defRPr lang="en-US" sz="1867" b="1" i="0" kern="1200" dirty="0">
                <a:solidFill>
                  <a:schemeClr val="tx2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23" name="Text Placeholder 8">
            <a:extLst>
              <a:ext uri="{FF2B5EF4-FFF2-40B4-BE49-F238E27FC236}">
                <a16:creationId xmlns:a16="http://schemas.microsoft.com/office/drawing/2014/main" id="{6290917C-F9FF-F740-A706-053C4A763AA9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390790" y="2556010"/>
            <a:ext cx="896636" cy="924767"/>
          </a:xfrm>
          <a:prstGeom prst="rect">
            <a:avLst/>
          </a:prstGeom>
        </p:spPr>
        <p:txBody>
          <a:bodyPr vert="horz" lIns="91440" tIns="45720" rIns="0" bIns="0" rtlCol="0" anchor="ctr">
            <a:noAutofit/>
          </a:bodyPr>
          <a:lstStyle>
            <a:lvl1pPr algn="r">
              <a:defRPr lang="en-US" sz="4267" b="1" i="0" kern="1200" dirty="0">
                <a:solidFill>
                  <a:schemeClr val="tx2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</a:lstStyle>
          <a:p>
            <a:pPr marL="0" lvl="0" indent="0" algn="ctr" defTabSz="609585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None/>
            </a:pPr>
            <a:r>
              <a:rPr lang="en-US"/>
              <a:t>02</a:t>
            </a:r>
          </a:p>
        </p:txBody>
      </p:sp>
      <p:sp>
        <p:nvSpPr>
          <p:cNvPr id="124" name="Text Placeholder 4">
            <a:extLst>
              <a:ext uri="{FF2B5EF4-FFF2-40B4-BE49-F238E27FC236}">
                <a16:creationId xmlns:a16="http://schemas.microsoft.com/office/drawing/2014/main" id="{95B97AFB-A90D-3E44-9D39-315D3769F8AC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1500480" y="3031496"/>
            <a:ext cx="3756417" cy="449280"/>
          </a:xfrm>
          <a:prstGeom prst="rect">
            <a:avLst/>
          </a:prstGeom>
        </p:spPr>
        <p:txBody>
          <a:bodyPr lIns="0" tIns="0" anchor="t"/>
          <a:lstStyle>
            <a:lvl1pPr>
              <a:defRPr lang="en-US" sz="1600" b="0" i="0" kern="120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marL="0" lvl="0" indent="0" algn="l" defTabSz="609585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None/>
            </a:pPr>
            <a:r>
              <a:rPr lang="en-US"/>
              <a:t>Click to add text</a:t>
            </a:r>
          </a:p>
        </p:txBody>
      </p:sp>
      <p:sp>
        <p:nvSpPr>
          <p:cNvPr id="125" name="Text Placeholder 4">
            <a:extLst>
              <a:ext uri="{FF2B5EF4-FFF2-40B4-BE49-F238E27FC236}">
                <a16:creationId xmlns:a16="http://schemas.microsoft.com/office/drawing/2014/main" id="{85829481-6D7B-F045-8EE9-B4C1ECD75B2F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1500477" y="3731627"/>
            <a:ext cx="3756419" cy="449280"/>
          </a:xfrm>
          <a:prstGeom prst="rect">
            <a:avLst/>
          </a:prstGeom>
        </p:spPr>
        <p:txBody>
          <a:bodyPr lIns="0" bIns="0" anchor="b"/>
          <a:lstStyle>
            <a:lvl1pPr>
              <a:defRPr lang="en-US" sz="1867" b="1" i="0" kern="1200" dirty="0">
                <a:solidFill>
                  <a:schemeClr val="accent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26" name="Text Placeholder 8">
            <a:extLst>
              <a:ext uri="{FF2B5EF4-FFF2-40B4-BE49-F238E27FC236}">
                <a16:creationId xmlns:a16="http://schemas.microsoft.com/office/drawing/2014/main" id="{DDFAAB57-C865-E142-8013-DC08424C3217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390790" y="3731627"/>
            <a:ext cx="896637" cy="924768"/>
          </a:xfrm>
          <a:prstGeom prst="rect">
            <a:avLst/>
          </a:prstGeom>
        </p:spPr>
        <p:txBody>
          <a:bodyPr vert="horz" lIns="91440" tIns="45720" rIns="0" bIns="0" rtlCol="0" anchor="ctr">
            <a:noAutofit/>
          </a:bodyPr>
          <a:lstStyle>
            <a:lvl1pPr algn="r">
              <a:defRPr lang="en-US" sz="4267" b="1" dirty="0">
                <a:solidFill>
                  <a:schemeClr val="accent1"/>
                </a:solidFill>
              </a:defRPr>
            </a:lvl1pPr>
          </a:lstStyle>
          <a:p>
            <a:pPr lvl="0" algn="ctr"/>
            <a:r>
              <a:rPr lang="en-US"/>
              <a:t>03</a:t>
            </a:r>
          </a:p>
        </p:txBody>
      </p:sp>
      <p:sp>
        <p:nvSpPr>
          <p:cNvPr id="127" name="Text Placeholder 4">
            <a:extLst>
              <a:ext uri="{FF2B5EF4-FFF2-40B4-BE49-F238E27FC236}">
                <a16:creationId xmlns:a16="http://schemas.microsoft.com/office/drawing/2014/main" id="{82E86A85-4E44-8349-A22F-97196BA2E146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1500477" y="4207115"/>
            <a:ext cx="3756419" cy="449280"/>
          </a:xfrm>
          <a:prstGeom prst="rect">
            <a:avLst/>
          </a:prstGeom>
        </p:spPr>
        <p:txBody>
          <a:bodyPr lIns="0" tIns="0" anchor="t"/>
          <a:lstStyle>
            <a:lvl1pPr>
              <a:defRPr lang="en-US" sz="1600" b="0" i="0" kern="120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marL="0" lvl="0" indent="0" algn="l" defTabSz="609585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None/>
            </a:pPr>
            <a:r>
              <a:rPr lang="en-US"/>
              <a:t>Click to add text</a:t>
            </a:r>
          </a:p>
        </p:txBody>
      </p:sp>
      <p:sp>
        <p:nvSpPr>
          <p:cNvPr id="128" name="Text Placeholder 4">
            <a:extLst>
              <a:ext uri="{FF2B5EF4-FFF2-40B4-BE49-F238E27FC236}">
                <a16:creationId xmlns:a16="http://schemas.microsoft.com/office/drawing/2014/main" id="{68B0C214-3DE4-C248-B534-D6D2F1B6FCC8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1500477" y="4907245"/>
            <a:ext cx="3756419" cy="449280"/>
          </a:xfrm>
          <a:prstGeom prst="rect">
            <a:avLst/>
          </a:prstGeom>
        </p:spPr>
        <p:txBody>
          <a:bodyPr lIns="0" bIns="0" anchor="b"/>
          <a:lstStyle>
            <a:lvl1pPr>
              <a:defRPr lang="en-US" sz="1867" b="1" i="0" kern="1200" dirty="0">
                <a:solidFill>
                  <a:schemeClr val="accent2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29" name="Text Placeholder 8">
            <a:extLst>
              <a:ext uri="{FF2B5EF4-FFF2-40B4-BE49-F238E27FC236}">
                <a16:creationId xmlns:a16="http://schemas.microsoft.com/office/drawing/2014/main" id="{F54927C7-10AB-6541-9CAD-DF24D237EE27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385705" y="4907245"/>
            <a:ext cx="901721" cy="924768"/>
          </a:xfrm>
          <a:prstGeom prst="rect">
            <a:avLst/>
          </a:prstGeom>
        </p:spPr>
        <p:txBody>
          <a:bodyPr vert="horz" lIns="91440" tIns="45720" rIns="0" bIns="0" rtlCol="0" anchor="ctr">
            <a:noAutofit/>
          </a:bodyPr>
          <a:lstStyle>
            <a:lvl1pPr algn="r">
              <a:defRPr lang="en-US" sz="4267" b="1" dirty="0">
                <a:solidFill>
                  <a:schemeClr val="accent2"/>
                </a:solidFill>
              </a:defRPr>
            </a:lvl1pPr>
          </a:lstStyle>
          <a:p>
            <a:pPr lvl="0" algn="ctr"/>
            <a:r>
              <a:rPr lang="en-US"/>
              <a:t>04</a:t>
            </a:r>
          </a:p>
        </p:txBody>
      </p:sp>
      <p:sp>
        <p:nvSpPr>
          <p:cNvPr id="130" name="Text Placeholder 4">
            <a:extLst>
              <a:ext uri="{FF2B5EF4-FFF2-40B4-BE49-F238E27FC236}">
                <a16:creationId xmlns:a16="http://schemas.microsoft.com/office/drawing/2014/main" id="{CF5B1F37-AEB6-BE44-A4A4-3636711C9D05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1500477" y="5382733"/>
            <a:ext cx="3756419" cy="449280"/>
          </a:xfrm>
          <a:prstGeom prst="rect">
            <a:avLst/>
          </a:prstGeom>
        </p:spPr>
        <p:txBody>
          <a:bodyPr lIns="0" tIns="0" anchor="t"/>
          <a:lstStyle>
            <a:lvl1pPr>
              <a:defRPr lang="en-US" sz="1600" b="0" i="0" kern="120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marL="0" lvl="0" indent="0" algn="l" defTabSz="609585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None/>
            </a:pPr>
            <a:r>
              <a:rPr lang="en-US"/>
              <a:t>Click to add text</a:t>
            </a:r>
          </a:p>
        </p:txBody>
      </p: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C6A4D451-F160-0F47-8F77-06A32516BBA7}"/>
              </a:ext>
            </a:extLst>
          </p:cNvPr>
          <p:cNvCxnSpPr>
            <a:cxnSpLocks/>
          </p:cNvCxnSpPr>
          <p:nvPr/>
        </p:nvCxnSpPr>
        <p:spPr>
          <a:xfrm>
            <a:off x="1393953" y="5073296"/>
            <a:ext cx="0" cy="592667"/>
          </a:xfrm>
          <a:prstGeom prst="line">
            <a:avLst/>
          </a:prstGeom>
          <a:ln w="19050" cap="rnd" cmpd="sng">
            <a:solidFill>
              <a:schemeClr val="bg1">
                <a:lumMod val="50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7F9463EF-9D7C-0A4A-8389-C22E191F91D0}"/>
              </a:ext>
            </a:extLst>
          </p:cNvPr>
          <p:cNvCxnSpPr>
            <a:cxnSpLocks/>
          </p:cNvCxnSpPr>
          <p:nvPr/>
        </p:nvCxnSpPr>
        <p:spPr>
          <a:xfrm>
            <a:off x="1393953" y="3897677"/>
            <a:ext cx="0" cy="592667"/>
          </a:xfrm>
          <a:prstGeom prst="line">
            <a:avLst/>
          </a:prstGeom>
          <a:ln w="19050" cap="rnd" cmpd="sng">
            <a:solidFill>
              <a:schemeClr val="bg1">
                <a:lumMod val="50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2FE1D40C-E2A7-824A-859A-4B83D68B8D7B}"/>
              </a:ext>
            </a:extLst>
          </p:cNvPr>
          <p:cNvCxnSpPr>
            <a:cxnSpLocks/>
          </p:cNvCxnSpPr>
          <p:nvPr/>
        </p:nvCxnSpPr>
        <p:spPr>
          <a:xfrm>
            <a:off x="1393953" y="2722059"/>
            <a:ext cx="0" cy="592667"/>
          </a:xfrm>
          <a:prstGeom prst="line">
            <a:avLst/>
          </a:prstGeom>
          <a:ln w="19050" cap="rnd" cmpd="sng">
            <a:solidFill>
              <a:schemeClr val="bg1">
                <a:lumMod val="50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A6BCE3CD-1BFB-664F-969A-D6E734ADFE88}"/>
              </a:ext>
            </a:extLst>
          </p:cNvPr>
          <p:cNvCxnSpPr>
            <a:cxnSpLocks/>
          </p:cNvCxnSpPr>
          <p:nvPr/>
        </p:nvCxnSpPr>
        <p:spPr>
          <a:xfrm>
            <a:off x="1393953" y="1543545"/>
            <a:ext cx="0" cy="592667"/>
          </a:xfrm>
          <a:prstGeom prst="line">
            <a:avLst/>
          </a:prstGeom>
          <a:ln w="19050" cap="rnd" cmpd="sng">
            <a:solidFill>
              <a:schemeClr val="bg1">
                <a:lumMod val="50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3" name="Picture Placeholder 3">
            <a:extLst>
              <a:ext uri="{FF2B5EF4-FFF2-40B4-BE49-F238E27FC236}">
                <a16:creationId xmlns:a16="http://schemas.microsoft.com/office/drawing/2014/main" id="{37480F62-FC4A-E547-9A0D-5EADFD641734}"/>
              </a:ext>
            </a:extLst>
          </p:cNvPr>
          <p:cNvSpPr>
            <a:spLocks noGrp="1"/>
          </p:cNvSpPr>
          <p:nvPr>
            <p:ph type="pic" sz="quarter" idx="61" hasCustomPrompt="1"/>
          </p:nvPr>
        </p:nvSpPr>
        <p:spPr>
          <a:xfrm>
            <a:off x="6113376" y="-2"/>
            <a:ext cx="6078624" cy="6270171"/>
          </a:xfrm>
          <a:prstGeom prst="rect">
            <a:avLst/>
          </a:prstGeom>
        </p:spPr>
        <p:txBody>
          <a:bodyPr vert="horz" lIns="640080" tIns="45720" rIns="640080" bIns="45720" rtlCol="0" anchor="ctr">
            <a:noAutofit/>
          </a:bodyPr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1333">
                <a:solidFill>
                  <a:schemeClr val="bg1"/>
                </a:solidFill>
                <a:highlight>
                  <a:srgbClr val="80B9F9"/>
                </a:highlight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  <p:sp>
        <p:nvSpPr>
          <p:cNvPr id="22" name="Slide Number Placeholder 2">
            <a:extLst>
              <a:ext uri="{FF2B5EF4-FFF2-40B4-BE49-F238E27FC236}">
                <a16:creationId xmlns:a16="http://schemas.microsoft.com/office/drawing/2014/main" id="{C37045EF-07B4-1745-BF2C-8B00E0B3C7A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tx1">
                    <a:lumMod val="50000"/>
                  </a:schemeClr>
                </a:solidFill>
              </a:defRPr>
            </a:lvl1pPr>
          </a:lstStyle>
          <a:p>
            <a:fld id="{AD6BAA4E-5F47-E640-8B90-67FB6D90528D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1047612"/>
      </p:ext>
    </p:extLst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16474A75-975C-C14B-A0BF-25D004BB6B7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3396" y="2581166"/>
            <a:ext cx="8584331" cy="1241901"/>
          </a:xfrm>
        </p:spPr>
        <p:txBody>
          <a:bodyPr anchor="b"/>
          <a:lstStyle/>
          <a:p>
            <a:r>
              <a:rPr lang="en-US"/>
              <a:t>Click to Add Title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A4C856CF-5711-BC49-87A2-F530B5D1F8E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83395" y="3823067"/>
            <a:ext cx="8584331" cy="453768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 algn="l" defTabSz="609585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None/>
              <a:defRPr lang="en-US" sz="2133" b="0" i="0" kern="1200" dirty="0">
                <a:solidFill>
                  <a:schemeClr val="accent2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7" name="Slide Number Placeholder 2">
            <a:extLst>
              <a:ext uri="{FF2B5EF4-FFF2-40B4-BE49-F238E27FC236}">
                <a16:creationId xmlns:a16="http://schemas.microsoft.com/office/drawing/2014/main" id="{CD12DACD-8D0B-FF4C-ABCE-7D57815479C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bg1"/>
                </a:solidFill>
              </a:defRPr>
            </a:lvl1pPr>
          </a:lstStyle>
          <a:p>
            <a:fld id="{F531C153-56E2-4D58-BF8C-84423A751AD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63505095"/>
      </p:ext>
    </p:extLst>
  </p:cSld>
  <p:clrMapOvr>
    <a:masterClrMapping/>
  </p:clrMapOvr>
  <p:transition>
    <p:fade/>
  </p:transition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AGENDA SLID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9" name="Picture 28" descr="A picture containing large, door, covered, standing&#10;&#10;Description automatically generated">
            <a:extLst>
              <a:ext uri="{FF2B5EF4-FFF2-40B4-BE49-F238E27FC236}">
                <a16:creationId xmlns:a16="http://schemas.microsoft.com/office/drawing/2014/main" id="{F65CF604-34C9-BA49-8682-AE83E66FF09E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118" t="1215"/>
          <a:stretch/>
        </p:blipFill>
        <p:spPr>
          <a:xfrm>
            <a:off x="-1" y="-6097"/>
            <a:ext cx="4402145" cy="6275663"/>
          </a:xfrm>
          <a:prstGeom prst="rect">
            <a:avLst/>
          </a:prstGeom>
        </p:spPr>
      </p:pic>
      <p:sp>
        <p:nvSpPr>
          <p:cNvPr id="42" name="Picture Placeholder 4">
            <a:extLst>
              <a:ext uri="{FF2B5EF4-FFF2-40B4-BE49-F238E27FC236}">
                <a16:creationId xmlns:a16="http://schemas.microsoft.com/office/drawing/2014/main" id="{9A5F0A93-DDA2-CA43-87E6-674F563C46E9}"/>
              </a:ext>
            </a:extLst>
          </p:cNvPr>
          <p:cNvSpPr>
            <a:spLocks noGrp="1"/>
          </p:cNvSpPr>
          <p:nvPr>
            <p:ph type="pic" sz="quarter" idx="45" hasCustomPrompt="1"/>
          </p:nvPr>
        </p:nvSpPr>
        <p:spPr>
          <a:xfrm>
            <a:off x="-1" y="-1"/>
            <a:ext cx="4402145" cy="6264077"/>
          </a:xfrm>
          <a:prstGeom prst="rect">
            <a:avLst/>
          </a:prstGeom>
        </p:spPr>
        <p:txBody>
          <a:bodyPr lIns="548640" tIns="1554480" rIns="548640" anchor="t"/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1067" b="0" i="0" kern="1200">
                <a:solidFill>
                  <a:schemeClr val="bg1">
                    <a:alpha val="88000"/>
                  </a:schemeClr>
                </a:solidFill>
                <a:highlight>
                  <a:srgbClr val="80B9F9"/>
                </a:highlight>
                <a:latin typeface="+mn-lt"/>
                <a:ea typeface="Helvetica Neue Thin" panose="020B0403020202020204" pitchFamily="34" charset="0"/>
                <a:cs typeface="+mn-cs"/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  <p:sp>
        <p:nvSpPr>
          <p:cNvPr id="41" name="Title 1">
            <a:extLst>
              <a:ext uri="{FF2B5EF4-FFF2-40B4-BE49-F238E27FC236}">
                <a16:creationId xmlns:a16="http://schemas.microsoft.com/office/drawing/2014/main" id="{40A7247D-8C2F-114A-A640-A6AF30C5E51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9119" y="2566337"/>
            <a:ext cx="3654215" cy="113749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</a:t>
            </a:r>
            <a:br>
              <a:rPr lang="en-US"/>
            </a:br>
            <a:r>
              <a:rPr lang="en-US"/>
              <a:t>Add Title</a:t>
            </a:r>
          </a:p>
        </p:txBody>
      </p:sp>
      <p:sp>
        <p:nvSpPr>
          <p:cNvPr id="26" name="Slide Number Placeholder 2">
            <a:extLst>
              <a:ext uri="{FF2B5EF4-FFF2-40B4-BE49-F238E27FC236}">
                <a16:creationId xmlns:a16="http://schemas.microsoft.com/office/drawing/2014/main" id="{8FB5FDDB-EAF4-5E4A-B3B3-F8B563BC471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tx1">
                    <a:lumMod val="50000"/>
                  </a:schemeClr>
                </a:solidFill>
              </a:defRPr>
            </a:lvl1pPr>
          </a:lstStyle>
          <a:p>
            <a:fld id="{AD6BAA4E-5F47-E640-8B90-67FB6D90528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5" name="Text Placeholder 4">
            <a:extLst>
              <a:ext uri="{FF2B5EF4-FFF2-40B4-BE49-F238E27FC236}">
                <a16:creationId xmlns:a16="http://schemas.microsoft.com/office/drawing/2014/main" id="{D9FBCD83-D776-ED41-BB3E-499EB816E78E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6194158" y="365895"/>
            <a:ext cx="5171605" cy="449280"/>
          </a:xfrm>
          <a:prstGeom prst="rect">
            <a:avLst/>
          </a:prstGeom>
        </p:spPr>
        <p:txBody>
          <a:bodyPr lIns="0" bIns="0" anchor="b"/>
          <a:lstStyle>
            <a:lvl1pPr>
              <a:defRPr sz="1867" b="1">
                <a:solidFill>
                  <a:schemeClr val="accent2"/>
                </a:solidFill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96" name="Text Placeholder 8">
            <a:extLst>
              <a:ext uri="{FF2B5EF4-FFF2-40B4-BE49-F238E27FC236}">
                <a16:creationId xmlns:a16="http://schemas.microsoft.com/office/drawing/2014/main" id="{746F1190-CD47-3D40-95D9-E2DA169CCCA8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5079382" y="365899"/>
            <a:ext cx="901721" cy="924764"/>
          </a:xfrm>
          <a:prstGeom prst="rect">
            <a:avLst/>
          </a:prstGeom>
        </p:spPr>
        <p:txBody>
          <a:bodyPr vert="horz" lIns="91440" tIns="45720" rIns="0" bIns="0" rtlCol="0" anchor="ctr">
            <a:noAutofit/>
          </a:bodyPr>
          <a:lstStyle>
            <a:lvl1pPr algn="ctr">
              <a:defRPr lang="en-US" sz="4267" b="1" dirty="0">
                <a:solidFill>
                  <a:schemeClr val="accent2"/>
                </a:solidFill>
              </a:defRPr>
            </a:lvl1pPr>
          </a:lstStyle>
          <a:p>
            <a:pPr lvl="0" algn="ctr"/>
            <a:r>
              <a:rPr lang="en-US"/>
              <a:t>01</a:t>
            </a:r>
          </a:p>
        </p:txBody>
      </p:sp>
      <p:sp>
        <p:nvSpPr>
          <p:cNvPr id="97" name="Text Placeholder 4">
            <a:extLst>
              <a:ext uri="{FF2B5EF4-FFF2-40B4-BE49-F238E27FC236}">
                <a16:creationId xmlns:a16="http://schemas.microsoft.com/office/drawing/2014/main" id="{20F73A88-34AE-CC4C-B195-1BD1596AD4CE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6194158" y="841383"/>
            <a:ext cx="5171605" cy="449280"/>
          </a:xfrm>
          <a:prstGeom prst="rect">
            <a:avLst/>
          </a:prstGeom>
        </p:spPr>
        <p:txBody>
          <a:bodyPr lIns="0" tIns="0" anchor="t"/>
          <a:lstStyle>
            <a:lvl1pPr>
              <a:defRPr lang="en-US" sz="1600" b="0" i="0" kern="120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marL="0" lvl="0" indent="0" algn="l" defTabSz="609585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None/>
            </a:pPr>
            <a:r>
              <a:rPr lang="en-US"/>
              <a:t>Click to add text</a:t>
            </a:r>
          </a:p>
        </p:txBody>
      </p:sp>
      <p:sp>
        <p:nvSpPr>
          <p:cNvPr id="98" name="Text Placeholder 4">
            <a:extLst>
              <a:ext uri="{FF2B5EF4-FFF2-40B4-BE49-F238E27FC236}">
                <a16:creationId xmlns:a16="http://schemas.microsoft.com/office/drawing/2014/main" id="{85B07419-8644-D144-89A6-579DC545BEDC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6194156" y="1544409"/>
            <a:ext cx="5171608" cy="449280"/>
          </a:xfrm>
          <a:prstGeom prst="rect">
            <a:avLst/>
          </a:prstGeom>
        </p:spPr>
        <p:txBody>
          <a:bodyPr lIns="0" bIns="0" anchor="b"/>
          <a:lstStyle>
            <a:lvl1pPr>
              <a:defRPr lang="en-US" sz="1867" b="1" i="0" kern="1200" dirty="0">
                <a:solidFill>
                  <a:schemeClr val="tx2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99" name="Text Placeholder 8">
            <a:extLst>
              <a:ext uri="{FF2B5EF4-FFF2-40B4-BE49-F238E27FC236}">
                <a16:creationId xmlns:a16="http://schemas.microsoft.com/office/drawing/2014/main" id="{60AE02EE-0700-FB4F-B004-7ACEF807D938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5084467" y="1544411"/>
            <a:ext cx="896636" cy="924767"/>
          </a:xfrm>
          <a:prstGeom prst="rect">
            <a:avLst/>
          </a:prstGeom>
        </p:spPr>
        <p:txBody>
          <a:bodyPr vert="horz" lIns="91440" tIns="45720" rIns="0" bIns="0" rtlCol="0" anchor="ctr">
            <a:noAutofit/>
          </a:bodyPr>
          <a:lstStyle>
            <a:lvl1pPr algn="ctr">
              <a:defRPr lang="en-US" sz="4267" b="1" i="0" kern="1200" dirty="0">
                <a:solidFill>
                  <a:schemeClr val="tx2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</a:lstStyle>
          <a:p>
            <a:pPr marL="0" lvl="0" indent="0" algn="ctr" defTabSz="609585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None/>
            </a:pPr>
            <a:r>
              <a:rPr lang="en-US"/>
              <a:t>02</a:t>
            </a:r>
          </a:p>
        </p:txBody>
      </p:sp>
      <p:sp>
        <p:nvSpPr>
          <p:cNvPr id="100" name="Text Placeholder 4">
            <a:extLst>
              <a:ext uri="{FF2B5EF4-FFF2-40B4-BE49-F238E27FC236}">
                <a16:creationId xmlns:a16="http://schemas.microsoft.com/office/drawing/2014/main" id="{240B4B18-80DB-0344-91D5-EB540AA4090D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6194156" y="2019897"/>
            <a:ext cx="5171608" cy="449280"/>
          </a:xfrm>
          <a:prstGeom prst="rect">
            <a:avLst/>
          </a:prstGeom>
        </p:spPr>
        <p:txBody>
          <a:bodyPr lIns="0" tIns="0" anchor="t"/>
          <a:lstStyle>
            <a:lvl1pPr>
              <a:defRPr lang="en-US" sz="1600" b="0" i="0" kern="120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marL="0" lvl="0" indent="0" algn="l" defTabSz="609585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None/>
            </a:pPr>
            <a:r>
              <a:rPr lang="en-US"/>
              <a:t>Click to add text</a:t>
            </a:r>
          </a:p>
        </p:txBody>
      </p:sp>
      <p:sp>
        <p:nvSpPr>
          <p:cNvPr id="101" name="Text Placeholder 4">
            <a:extLst>
              <a:ext uri="{FF2B5EF4-FFF2-40B4-BE49-F238E27FC236}">
                <a16:creationId xmlns:a16="http://schemas.microsoft.com/office/drawing/2014/main" id="{018994FB-CFAE-1544-9E61-EBC346C999A7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6194154" y="2720028"/>
            <a:ext cx="5171609" cy="449280"/>
          </a:xfrm>
          <a:prstGeom prst="rect">
            <a:avLst/>
          </a:prstGeom>
        </p:spPr>
        <p:txBody>
          <a:bodyPr lIns="0" bIns="0" anchor="b"/>
          <a:lstStyle>
            <a:lvl1pPr>
              <a:defRPr lang="en-US" sz="1867" b="1" i="0" kern="1200" dirty="0">
                <a:solidFill>
                  <a:schemeClr val="accent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02" name="Text Placeholder 8">
            <a:extLst>
              <a:ext uri="{FF2B5EF4-FFF2-40B4-BE49-F238E27FC236}">
                <a16:creationId xmlns:a16="http://schemas.microsoft.com/office/drawing/2014/main" id="{56CC4A48-ED46-BB4B-9F5E-903CC0D308F9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5084467" y="2720028"/>
            <a:ext cx="896637" cy="924768"/>
          </a:xfrm>
          <a:prstGeom prst="rect">
            <a:avLst/>
          </a:prstGeom>
        </p:spPr>
        <p:txBody>
          <a:bodyPr vert="horz" lIns="91440" tIns="45720" rIns="0" bIns="0" rtlCol="0" anchor="ctr">
            <a:noAutofit/>
          </a:bodyPr>
          <a:lstStyle>
            <a:lvl1pPr algn="ctr">
              <a:defRPr lang="en-US" sz="4267" b="1" dirty="0">
                <a:solidFill>
                  <a:schemeClr val="accent1"/>
                </a:solidFill>
              </a:defRPr>
            </a:lvl1pPr>
          </a:lstStyle>
          <a:p>
            <a:pPr lvl="0" algn="ctr"/>
            <a:r>
              <a:rPr lang="en-US"/>
              <a:t>03</a:t>
            </a:r>
          </a:p>
        </p:txBody>
      </p:sp>
      <p:sp>
        <p:nvSpPr>
          <p:cNvPr id="103" name="Text Placeholder 4">
            <a:extLst>
              <a:ext uri="{FF2B5EF4-FFF2-40B4-BE49-F238E27FC236}">
                <a16:creationId xmlns:a16="http://schemas.microsoft.com/office/drawing/2014/main" id="{FB13F24D-D9F9-B84E-8AFD-006D838E841F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6194154" y="3195516"/>
            <a:ext cx="5171609" cy="449280"/>
          </a:xfrm>
          <a:prstGeom prst="rect">
            <a:avLst/>
          </a:prstGeom>
        </p:spPr>
        <p:txBody>
          <a:bodyPr lIns="0" tIns="0" anchor="t"/>
          <a:lstStyle>
            <a:lvl1pPr>
              <a:defRPr lang="en-US" sz="1600" b="0" i="0" kern="120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marL="0" lvl="0" indent="0" algn="l" defTabSz="609585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None/>
            </a:pPr>
            <a:r>
              <a:rPr lang="en-US"/>
              <a:t>Click to add text</a:t>
            </a:r>
          </a:p>
        </p:txBody>
      </p:sp>
      <p:sp>
        <p:nvSpPr>
          <p:cNvPr id="104" name="Text Placeholder 4">
            <a:extLst>
              <a:ext uri="{FF2B5EF4-FFF2-40B4-BE49-F238E27FC236}">
                <a16:creationId xmlns:a16="http://schemas.microsoft.com/office/drawing/2014/main" id="{CADDF6AF-0465-4548-B678-4242216F64B7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6194154" y="3895647"/>
            <a:ext cx="5171609" cy="449280"/>
          </a:xfrm>
          <a:prstGeom prst="rect">
            <a:avLst/>
          </a:prstGeom>
        </p:spPr>
        <p:txBody>
          <a:bodyPr lIns="0" bIns="0" anchor="b"/>
          <a:lstStyle>
            <a:lvl1pPr>
              <a:defRPr lang="en-US" sz="1867" b="1" i="0" kern="1200" dirty="0">
                <a:solidFill>
                  <a:schemeClr val="accent3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05" name="Text Placeholder 8">
            <a:extLst>
              <a:ext uri="{FF2B5EF4-FFF2-40B4-BE49-F238E27FC236}">
                <a16:creationId xmlns:a16="http://schemas.microsoft.com/office/drawing/2014/main" id="{B47F2F2E-2976-644A-8E7E-FDEF0198E974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5079382" y="3895647"/>
            <a:ext cx="901721" cy="924768"/>
          </a:xfrm>
          <a:prstGeom prst="rect">
            <a:avLst/>
          </a:prstGeom>
        </p:spPr>
        <p:txBody>
          <a:bodyPr vert="horz" lIns="91440" tIns="45720" rIns="0" bIns="0" rtlCol="0" anchor="ctr">
            <a:noAutofit/>
          </a:bodyPr>
          <a:lstStyle>
            <a:lvl1pPr algn="ctr">
              <a:defRPr lang="en-US" sz="4267" b="1" dirty="0">
                <a:solidFill>
                  <a:schemeClr val="accent3"/>
                </a:solidFill>
              </a:defRPr>
            </a:lvl1pPr>
          </a:lstStyle>
          <a:p>
            <a:pPr lvl="0" algn="ctr"/>
            <a:r>
              <a:rPr lang="en-US"/>
              <a:t>04</a:t>
            </a:r>
          </a:p>
        </p:txBody>
      </p:sp>
      <p:sp>
        <p:nvSpPr>
          <p:cNvPr id="106" name="Text Placeholder 4">
            <a:extLst>
              <a:ext uri="{FF2B5EF4-FFF2-40B4-BE49-F238E27FC236}">
                <a16:creationId xmlns:a16="http://schemas.microsoft.com/office/drawing/2014/main" id="{49969AFC-945B-5540-B9B8-BF4145575ED8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6194154" y="4371135"/>
            <a:ext cx="5171609" cy="449280"/>
          </a:xfrm>
          <a:prstGeom prst="rect">
            <a:avLst/>
          </a:prstGeom>
        </p:spPr>
        <p:txBody>
          <a:bodyPr lIns="0" tIns="0" anchor="t"/>
          <a:lstStyle>
            <a:lvl1pPr>
              <a:defRPr lang="en-US" sz="1600" b="0" i="0" kern="120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marL="0" lvl="0" indent="0" algn="l" defTabSz="609585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None/>
            </a:pPr>
            <a:r>
              <a:rPr lang="en-US"/>
              <a:t>Click to add text</a:t>
            </a:r>
          </a:p>
        </p:txBody>
      </p:sp>
      <p:sp>
        <p:nvSpPr>
          <p:cNvPr id="107" name="Text Placeholder 4">
            <a:extLst>
              <a:ext uri="{FF2B5EF4-FFF2-40B4-BE49-F238E27FC236}">
                <a16:creationId xmlns:a16="http://schemas.microsoft.com/office/drawing/2014/main" id="{C8F6B19D-EC29-FF44-941F-D028E53581F0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6194154" y="5071265"/>
            <a:ext cx="5171609" cy="449280"/>
          </a:xfrm>
          <a:prstGeom prst="rect">
            <a:avLst/>
          </a:prstGeom>
        </p:spPr>
        <p:txBody>
          <a:bodyPr lIns="0" bIns="0" anchor="b"/>
          <a:lstStyle>
            <a:lvl1pPr>
              <a:defRPr lang="en-US" sz="1867" b="1" i="0" kern="1200" dirty="0">
                <a:solidFill>
                  <a:schemeClr val="bg2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08" name="Text Placeholder 8">
            <a:extLst>
              <a:ext uri="{FF2B5EF4-FFF2-40B4-BE49-F238E27FC236}">
                <a16:creationId xmlns:a16="http://schemas.microsoft.com/office/drawing/2014/main" id="{77745609-E787-014D-B431-531C78E03971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5084467" y="5071267"/>
            <a:ext cx="896637" cy="924767"/>
          </a:xfrm>
          <a:prstGeom prst="rect">
            <a:avLst/>
          </a:prstGeom>
        </p:spPr>
        <p:txBody>
          <a:bodyPr vert="horz" lIns="91440" tIns="45720" rIns="0" bIns="0" rtlCol="0" anchor="ctr">
            <a:noAutofit/>
          </a:bodyPr>
          <a:lstStyle>
            <a:lvl1pPr algn="ctr">
              <a:defRPr lang="en-US" sz="4267" b="1" dirty="0">
                <a:solidFill>
                  <a:schemeClr val="bg2"/>
                </a:solidFill>
              </a:defRPr>
            </a:lvl1pPr>
          </a:lstStyle>
          <a:p>
            <a:pPr lvl="0" algn="ctr"/>
            <a:r>
              <a:rPr lang="en-US"/>
              <a:t>05</a:t>
            </a:r>
          </a:p>
        </p:txBody>
      </p:sp>
      <p:sp>
        <p:nvSpPr>
          <p:cNvPr id="109" name="Text Placeholder 4">
            <a:extLst>
              <a:ext uri="{FF2B5EF4-FFF2-40B4-BE49-F238E27FC236}">
                <a16:creationId xmlns:a16="http://schemas.microsoft.com/office/drawing/2014/main" id="{96C1DC25-FF23-D847-9B98-4D2463A82B36}"/>
              </a:ext>
            </a:extLst>
          </p:cNvPr>
          <p:cNvSpPr>
            <a:spLocks noGrp="1"/>
          </p:cNvSpPr>
          <p:nvPr>
            <p:ph type="body" sz="quarter" idx="63" hasCustomPrompt="1"/>
          </p:nvPr>
        </p:nvSpPr>
        <p:spPr>
          <a:xfrm>
            <a:off x="6194154" y="5546753"/>
            <a:ext cx="5171609" cy="449280"/>
          </a:xfrm>
          <a:prstGeom prst="rect">
            <a:avLst/>
          </a:prstGeom>
        </p:spPr>
        <p:txBody>
          <a:bodyPr lIns="0" tIns="0" anchor="t"/>
          <a:lstStyle>
            <a:lvl1pPr>
              <a:defRPr lang="en-US" sz="1600" b="0" i="0" kern="120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marL="0" lvl="0" indent="0" algn="l" defTabSz="609585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None/>
            </a:pPr>
            <a:r>
              <a:rPr lang="en-US"/>
              <a:t>Click to add text</a:t>
            </a:r>
          </a:p>
        </p:txBody>
      </p:sp>
      <p:cxnSp>
        <p:nvCxnSpPr>
          <p:cNvPr id="110" name="Straight Connector 109">
            <a:extLst>
              <a:ext uri="{FF2B5EF4-FFF2-40B4-BE49-F238E27FC236}">
                <a16:creationId xmlns:a16="http://schemas.microsoft.com/office/drawing/2014/main" id="{78106641-6D9B-D941-956A-24431AC9E58E}"/>
              </a:ext>
            </a:extLst>
          </p:cNvPr>
          <p:cNvCxnSpPr>
            <a:cxnSpLocks/>
          </p:cNvCxnSpPr>
          <p:nvPr/>
        </p:nvCxnSpPr>
        <p:spPr>
          <a:xfrm>
            <a:off x="6087631" y="5237316"/>
            <a:ext cx="0" cy="592667"/>
          </a:xfrm>
          <a:prstGeom prst="line">
            <a:avLst/>
          </a:prstGeom>
          <a:ln w="19050" cap="rnd" cmpd="sng">
            <a:solidFill>
              <a:schemeClr val="bg1">
                <a:lumMod val="50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1" name="Straight Connector 110">
            <a:extLst>
              <a:ext uri="{FF2B5EF4-FFF2-40B4-BE49-F238E27FC236}">
                <a16:creationId xmlns:a16="http://schemas.microsoft.com/office/drawing/2014/main" id="{366C5349-0268-9445-8AAE-E015F0A89D04}"/>
              </a:ext>
            </a:extLst>
          </p:cNvPr>
          <p:cNvCxnSpPr>
            <a:cxnSpLocks/>
          </p:cNvCxnSpPr>
          <p:nvPr/>
        </p:nvCxnSpPr>
        <p:spPr>
          <a:xfrm>
            <a:off x="6087631" y="4061697"/>
            <a:ext cx="0" cy="592667"/>
          </a:xfrm>
          <a:prstGeom prst="line">
            <a:avLst/>
          </a:prstGeom>
          <a:ln w="19050" cap="rnd" cmpd="sng">
            <a:solidFill>
              <a:schemeClr val="bg1">
                <a:lumMod val="50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2" name="Straight Connector 111">
            <a:extLst>
              <a:ext uri="{FF2B5EF4-FFF2-40B4-BE49-F238E27FC236}">
                <a16:creationId xmlns:a16="http://schemas.microsoft.com/office/drawing/2014/main" id="{0F1B7D15-356F-ED44-8303-D76701C665A7}"/>
              </a:ext>
            </a:extLst>
          </p:cNvPr>
          <p:cNvCxnSpPr>
            <a:cxnSpLocks/>
          </p:cNvCxnSpPr>
          <p:nvPr/>
        </p:nvCxnSpPr>
        <p:spPr>
          <a:xfrm>
            <a:off x="6087631" y="2886079"/>
            <a:ext cx="0" cy="592667"/>
          </a:xfrm>
          <a:prstGeom prst="line">
            <a:avLst/>
          </a:prstGeom>
          <a:ln w="19050" cap="rnd" cmpd="sng">
            <a:solidFill>
              <a:schemeClr val="bg1">
                <a:lumMod val="50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3" name="Straight Connector 112">
            <a:extLst>
              <a:ext uri="{FF2B5EF4-FFF2-40B4-BE49-F238E27FC236}">
                <a16:creationId xmlns:a16="http://schemas.microsoft.com/office/drawing/2014/main" id="{BA24C4B8-73F5-FF4B-B189-A27E47E442D9}"/>
              </a:ext>
            </a:extLst>
          </p:cNvPr>
          <p:cNvCxnSpPr>
            <a:cxnSpLocks/>
          </p:cNvCxnSpPr>
          <p:nvPr/>
        </p:nvCxnSpPr>
        <p:spPr>
          <a:xfrm>
            <a:off x="6087631" y="1710460"/>
            <a:ext cx="0" cy="592667"/>
          </a:xfrm>
          <a:prstGeom prst="line">
            <a:avLst/>
          </a:prstGeom>
          <a:ln w="19050" cap="rnd" cmpd="sng">
            <a:solidFill>
              <a:schemeClr val="bg1">
                <a:lumMod val="50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4" name="Straight Connector 113">
            <a:extLst>
              <a:ext uri="{FF2B5EF4-FFF2-40B4-BE49-F238E27FC236}">
                <a16:creationId xmlns:a16="http://schemas.microsoft.com/office/drawing/2014/main" id="{55BAB988-18E7-C442-91F6-E73ED40F7B5A}"/>
              </a:ext>
            </a:extLst>
          </p:cNvPr>
          <p:cNvCxnSpPr>
            <a:cxnSpLocks/>
          </p:cNvCxnSpPr>
          <p:nvPr/>
        </p:nvCxnSpPr>
        <p:spPr>
          <a:xfrm>
            <a:off x="6087631" y="531947"/>
            <a:ext cx="0" cy="592667"/>
          </a:xfrm>
          <a:prstGeom prst="line">
            <a:avLst/>
          </a:prstGeom>
          <a:ln w="19050" cap="rnd" cmpd="sng">
            <a:solidFill>
              <a:schemeClr val="bg1">
                <a:lumMod val="50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3746333"/>
      </p:ext>
    </p:extLst>
  </p:cSld>
  <p:clrMapOvr>
    <a:masterClrMapping/>
  </p:clrMapOvr>
  <p:transition>
    <p:fade/>
  </p:transition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WO COLUMN WITH PHOTO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CBFDDF4-0565-424E-AFE7-6000EF98D79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3397" y="204645"/>
            <a:ext cx="7547628" cy="684355"/>
          </a:xfrm>
        </p:spPr>
        <p:txBody>
          <a:bodyPr anchor="t"/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EE0AA4A-BDF6-5B4A-84AE-EDC943B6DD6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83395" y="889001"/>
            <a:ext cx="7547628" cy="452967"/>
          </a:xfrm>
          <a:prstGeom prst="rect">
            <a:avLst/>
          </a:prstGeom>
        </p:spPr>
        <p:txBody>
          <a:bodyPr anchor="b">
            <a:noAutofit/>
          </a:bodyPr>
          <a:lstStyle>
            <a:lvl1pPr>
              <a:defRPr lang="en-US" sz="2400" b="0" i="0" kern="1200" dirty="0">
                <a:solidFill>
                  <a:schemeClr val="accent2"/>
                </a:solidFill>
                <a:latin typeface="+mj-lt"/>
                <a:ea typeface="Helvetica Neue Thin" panose="020B0403020202020204" pitchFamily="34" charset="0"/>
                <a:cs typeface="+mn-cs"/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0C88D5C2-25B4-C947-B4BE-01EFB89FF132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383395" y="1556130"/>
            <a:ext cx="3670048" cy="4708841"/>
          </a:xfrm>
          <a:prstGeom prst="rect">
            <a:avLst/>
          </a:prstGeom>
        </p:spPr>
        <p:txBody>
          <a:bodyPr/>
          <a:lstStyle>
            <a:lvl1pPr>
              <a:buClr>
                <a:schemeClr val="accent2"/>
              </a:buClr>
              <a:defRPr b="1">
                <a:solidFill>
                  <a:schemeClr val="accent1"/>
                </a:solidFill>
              </a:defRPr>
            </a:lvl1pPr>
            <a:lvl2pPr>
              <a:buClr>
                <a:schemeClr val="accent2"/>
              </a:buClr>
              <a:defRPr>
                <a:solidFill>
                  <a:schemeClr val="tx1"/>
                </a:solidFill>
              </a:defRPr>
            </a:lvl2pPr>
            <a:lvl3pPr>
              <a:buClr>
                <a:schemeClr val="accent2"/>
              </a:buClr>
              <a:defRPr>
                <a:solidFill>
                  <a:schemeClr val="tx1"/>
                </a:solidFill>
              </a:defRPr>
            </a:lvl3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 bullet</a:t>
            </a:r>
          </a:p>
          <a:p>
            <a:pPr lvl="2"/>
            <a:r>
              <a:rPr lang="en-US"/>
              <a:t>Third level bullet</a:t>
            </a:r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C0F55473-9E48-E149-A5F9-16BF6F270348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4260976" y="1556130"/>
            <a:ext cx="3670048" cy="4708841"/>
          </a:xfrm>
          <a:prstGeom prst="rect">
            <a:avLst/>
          </a:prstGeom>
        </p:spPr>
        <p:txBody>
          <a:bodyPr/>
          <a:lstStyle>
            <a:lvl1pPr>
              <a:buClr>
                <a:schemeClr val="accent2"/>
              </a:buClr>
              <a:defRPr b="1">
                <a:solidFill>
                  <a:schemeClr val="accent1"/>
                </a:solidFill>
              </a:defRPr>
            </a:lvl1pPr>
            <a:lvl2pPr>
              <a:buClr>
                <a:schemeClr val="accent2"/>
              </a:buClr>
              <a:defRPr>
                <a:solidFill>
                  <a:schemeClr val="tx1"/>
                </a:solidFill>
              </a:defRPr>
            </a:lvl2pPr>
            <a:lvl3pPr>
              <a:buClr>
                <a:schemeClr val="accent2"/>
              </a:buClr>
              <a:defRPr>
                <a:solidFill>
                  <a:schemeClr val="tx1"/>
                </a:solidFill>
              </a:defRPr>
            </a:lvl3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 bullet</a:t>
            </a:r>
          </a:p>
          <a:p>
            <a:pPr lvl="2"/>
            <a:r>
              <a:rPr lang="en-US"/>
              <a:t>Third level bullet</a:t>
            </a:r>
          </a:p>
        </p:txBody>
      </p:sp>
      <p:sp>
        <p:nvSpPr>
          <p:cNvPr id="9" name="Slide Number Placeholder 2">
            <a:extLst>
              <a:ext uri="{FF2B5EF4-FFF2-40B4-BE49-F238E27FC236}">
                <a16:creationId xmlns:a16="http://schemas.microsoft.com/office/drawing/2014/main" id="{37638021-80B5-D04D-B67E-AE9E2897577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lang="en-US" smtClean="0"/>
            </a:lvl1pPr>
          </a:lstStyle>
          <a:p>
            <a:fld id="{AD6BAA4E-5F47-E640-8B90-67FB6D90528D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CCBB2F8D-794C-D348-B4A7-45821D24A144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8139033" y="-926"/>
            <a:ext cx="4052491" cy="6265900"/>
          </a:xfrm>
          <a:prstGeom prst="rect">
            <a:avLst/>
          </a:prstGeom>
        </p:spPr>
      </p:pic>
      <p:pic>
        <p:nvPicPr>
          <p:cNvPr id="12" name="Picture Placeholder 18">
            <a:extLst>
              <a:ext uri="{FF2B5EF4-FFF2-40B4-BE49-F238E27FC236}">
                <a16:creationId xmlns:a16="http://schemas.microsoft.com/office/drawing/2014/main" id="{9331E0C1-D574-7E4D-9A61-CF3767AA085D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9799177" y="789"/>
            <a:ext cx="2392824" cy="6262468"/>
          </a:xfrm>
          <a:prstGeom prst="rect">
            <a:avLst/>
          </a:prstGeom>
        </p:spPr>
      </p:pic>
      <p:sp>
        <p:nvSpPr>
          <p:cNvPr id="14" name="Picture Placeholder 3">
            <a:extLst>
              <a:ext uri="{FF2B5EF4-FFF2-40B4-BE49-F238E27FC236}">
                <a16:creationId xmlns:a16="http://schemas.microsoft.com/office/drawing/2014/main" id="{566BE86B-E2A9-5A43-88C4-4CDADA11936F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8138559" y="-926"/>
            <a:ext cx="4053443" cy="6266823"/>
          </a:xfrm>
          <a:prstGeom prst="rect">
            <a:avLst/>
          </a:prstGeom>
        </p:spPr>
        <p:txBody>
          <a:bodyPr vert="horz" lIns="640080" tIns="45720" rIns="640080" bIns="45720" rtlCol="0" anchor="ctr">
            <a:noAutofit/>
          </a:bodyPr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1333">
                <a:solidFill>
                  <a:schemeClr val="bg1"/>
                </a:solidFill>
                <a:highlight>
                  <a:srgbClr val="80B9F9"/>
                </a:highlight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</p:spTree>
    <p:extLst>
      <p:ext uri="{BB962C8B-B14F-4D97-AF65-F5344CB8AC3E}">
        <p14:creationId xmlns:p14="http://schemas.microsoft.com/office/powerpoint/2010/main" val="3322525187"/>
      </p:ext>
    </p:extLst>
  </p:cSld>
  <p:clrMapOvr>
    <a:masterClrMapping/>
  </p:clrMapOvr>
  <p:transition>
    <p:fade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Organizational Char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7DD1F5A-540A-B449-841D-25E5770F495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Add Tit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3ADFFBBA-7440-884E-A9E4-91EDB21555D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D6BAA4E-5F47-E640-8B90-67FB6D90528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reeform 3">
            <a:extLst>
              <a:ext uri="{FF2B5EF4-FFF2-40B4-BE49-F238E27FC236}">
                <a16:creationId xmlns:a16="http://schemas.microsoft.com/office/drawing/2014/main" id="{5294A0C0-53A2-754C-99C3-99016F35DB85}"/>
              </a:ext>
            </a:extLst>
          </p:cNvPr>
          <p:cNvSpPr/>
          <p:nvPr/>
        </p:nvSpPr>
        <p:spPr>
          <a:xfrm>
            <a:off x="1210102" y="4468020"/>
            <a:ext cx="9744501" cy="333021"/>
          </a:xfrm>
          <a:custGeom>
            <a:avLst/>
            <a:gdLst>
              <a:gd name="connsiteX0" fmla="*/ 0 w 1425844"/>
              <a:gd name="connsiteY0" fmla="*/ 302217 h 302217"/>
              <a:gd name="connsiteX1" fmla="*/ 0 w 1425844"/>
              <a:gd name="connsiteY1" fmla="*/ 0 h 302217"/>
              <a:gd name="connsiteX2" fmla="*/ 1425844 w 1425844"/>
              <a:gd name="connsiteY2" fmla="*/ 0 h 302217"/>
              <a:gd name="connsiteX3" fmla="*/ 1425844 w 1425844"/>
              <a:gd name="connsiteY3" fmla="*/ 286719 h 3022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425844" h="302217">
                <a:moveTo>
                  <a:pt x="0" y="302217"/>
                </a:moveTo>
                <a:lnTo>
                  <a:pt x="0" y="0"/>
                </a:lnTo>
                <a:lnTo>
                  <a:pt x="1425844" y="0"/>
                </a:lnTo>
                <a:lnTo>
                  <a:pt x="1425844" y="286719"/>
                </a:lnTo>
              </a:path>
            </a:pathLst>
          </a:custGeom>
          <a:noFill/>
          <a:ln w="12700">
            <a:solidFill>
              <a:schemeClr val="bg1">
                <a:lumMod val="75000"/>
              </a:schemeClr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/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55AC3795-AFA1-A340-8E77-572AA6BA595C}"/>
              </a:ext>
            </a:extLst>
          </p:cNvPr>
          <p:cNvCxnSpPr>
            <a:cxnSpLocks/>
          </p:cNvCxnSpPr>
          <p:nvPr/>
        </p:nvCxnSpPr>
        <p:spPr>
          <a:xfrm>
            <a:off x="3197223" y="4471426"/>
            <a:ext cx="0" cy="255653"/>
          </a:xfrm>
          <a:prstGeom prst="line">
            <a:avLst/>
          </a:prstGeom>
          <a:noFill/>
          <a:ln w="12700">
            <a:solidFill>
              <a:schemeClr val="bg1">
                <a:lumMod val="75000"/>
              </a:schemeClr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cxn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7CEC7E0C-CB52-3347-B33E-E02474308BBD}"/>
              </a:ext>
            </a:extLst>
          </p:cNvPr>
          <p:cNvCxnSpPr>
            <a:cxnSpLocks/>
          </p:cNvCxnSpPr>
          <p:nvPr/>
        </p:nvCxnSpPr>
        <p:spPr>
          <a:xfrm>
            <a:off x="5145879" y="4471426"/>
            <a:ext cx="0" cy="255653"/>
          </a:xfrm>
          <a:prstGeom prst="line">
            <a:avLst/>
          </a:prstGeom>
          <a:noFill/>
          <a:ln w="12700">
            <a:solidFill>
              <a:schemeClr val="bg1">
                <a:lumMod val="75000"/>
              </a:schemeClr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147B49D8-EDBB-5F4D-B638-F41121EABDBA}"/>
              </a:ext>
            </a:extLst>
          </p:cNvPr>
          <p:cNvCxnSpPr>
            <a:cxnSpLocks/>
          </p:cNvCxnSpPr>
          <p:nvPr/>
        </p:nvCxnSpPr>
        <p:spPr>
          <a:xfrm>
            <a:off x="7045324" y="4471426"/>
            <a:ext cx="0" cy="255653"/>
          </a:xfrm>
          <a:prstGeom prst="line">
            <a:avLst/>
          </a:prstGeom>
          <a:noFill/>
          <a:ln w="12700">
            <a:solidFill>
              <a:schemeClr val="bg1">
                <a:lumMod val="75000"/>
              </a:schemeClr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cxn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0831E869-DE20-1846-AFFB-92FB1D850DD9}"/>
              </a:ext>
            </a:extLst>
          </p:cNvPr>
          <p:cNvCxnSpPr>
            <a:cxnSpLocks/>
          </p:cNvCxnSpPr>
          <p:nvPr/>
        </p:nvCxnSpPr>
        <p:spPr>
          <a:xfrm>
            <a:off x="8969375" y="4471426"/>
            <a:ext cx="0" cy="255653"/>
          </a:xfrm>
          <a:prstGeom prst="line">
            <a:avLst/>
          </a:prstGeom>
          <a:noFill/>
          <a:ln w="12700">
            <a:solidFill>
              <a:schemeClr val="bg1">
                <a:lumMod val="75000"/>
              </a:schemeClr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CAFEE37B-458D-004F-B07C-AB1F960070D5}"/>
              </a:ext>
            </a:extLst>
          </p:cNvPr>
          <p:cNvCxnSpPr>
            <a:cxnSpLocks/>
          </p:cNvCxnSpPr>
          <p:nvPr/>
        </p:nvCxnSpPr>
        <p:spPr>
          <a:xfrm>
            <a:off x="6083300" y="2310345"/>
            <a:ext cx="0" cy="2157676"/>
          </a:xfrm>
          <a:prstGeom prst="line">
            <a:avLst/>
          </a:prstGeom>
          <a:noFill/>
          <a:ln w="12700">
            <a:solidFill>
              <a:schemeClr val="bg1">
                <a:lumMod val="75000"/>
              </a:schemeClr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cxnSp>
      <p:sp>
        <p:nvSpPr>
          <p:cNvPr id="10" name="Rectangle 9">
            <a:extLst>
              <a:ext uri="{FF2B5EF4-FFF2-40B4-BE49-F238E27FC236}">
                <a16:creationId xmlns:a16="http://schemas.microsoft.com/office/drawing/2014/main" id="{D646C6AE-7347-5D45-9A60-008D59B3BC10}"/>
              </a:ext>
            </a:extLst>
          </p:cNvPr>
          <p:cNvSpPr/>
          <p:nvPr/>
        </p:nvSpPr>
        <p:spPr>
          <a:xfrm>
            <a:off x="5168900" y="1907479"/>
            <a:ext cx="1828800" cy="60960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Bef>
                <a:spcPts val="133"/>
              </a:spcBef>
            </a:pPr>
            <a:endParaRPr lang="en-US" sz="933" i="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F72B28FF-E0EF-0448-B466-93DCA3A9807C}"/>
              </a:ext>
            </a:extLst>
          </p:cNvPr>
          <p:cNvSpPr/>
          <p:nvPr/>
        </p:nvSpPr>
        <p:spPr>
          <a:xfrm>
            <a:off x="358772" y="3737627"/>
            <a:ext cx="1828800" cy="6096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  <a:spcBef>
                <a:spcPts val="133"/>
              </a:spcBef>
            </a:pPr>
            <a:endParaRPr lang="en-US" sz="1067" i="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BB3BC5F5-B047-6F4A-BF9E-EE228737AB80}"/>
              </a:ext>
            </a:extLst>
          </p:cNvPr>
          <p:cNvSpPr/>
          <p:nvPr/>
        </p:nvSpPr>
        <p:spPr>
          <a:xfrm>
            <a:off x="8054975" y="3737627"/>
            <a:ext cx="1828800" cy="6096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  <a:spcBef>
                <a:spcPts val="133"/>
              </a:spcBef>
            </a:pPr>
            <a:endParaRPr lang="en-US" sz="800" i="1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9B401DBB-BB82-2644-8632-09455EF43AF5}"/>
              </a:ext>
            </a:extLst>
          </p:cNvPr>
          <p:cNvSpPr/>
          <p:nvPr/>
        </p:nvSpPr>
        <p:spPr>
          <a:xfrm>
            <a:off x="2282823" y="3737627"/>
            <a:ext cx="1828800" cy="6096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  <a:spcBef>
                <a:spcPts val="133"/>
              </a:spcBef>
            </a:pPr>
            <a:endParaRPr lang="en-US" sz="800" i="1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5480D166-9082-FF4A-B16E-8DFBBA79A0B3}"/>
              </a:ext>
            </a:extLst>
          </p:cNvPr>
          <p:cNvSpPr/>
          <p:nvPr/>
        </p:nvSpPr>
        <p:spPr>
          <a:xfrm>
            <a:off x="4231479" y="3737627"/>
            <a:ext cx="1828800" cy="6096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  <a:spcBef>
                <a:spcPts val="133"/>
              </a:spcBef>
            </a:pPr>
            <a:endParaRPr lang="en-US" sz="800" i="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53FD7A6F-0BF9-B048-861A-8C79DB22C80A}"/>
              </a:ext>
            </a:extLst>
          </p:cNvPr>
          <p:cNvSpPr/>
          <p:nvPr/>
        </p:nvSpPr>
        <p:spPr>
          <a:xfrm>
            <a:off x="6130924" y="3737627"/>
            <a:ext cx="1828800" cy="6096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  <a:spcBef>
                <a:spcPts val="133"/>
              </a:spcBef>
            </a:pPr>
            <a:endParaRPr lang="en-US" sz="800" i="1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15BD103D-907F-8040-9477-73BC400E544B}"/>
              </a:ext>
            </a:extLst>
          </p:cNvPr>
          <p:cNvSpPr/>
          <p:nvPr/>
        </p:nvSpPr>
        <p:spPr>
          <a:xfrm>
            <a:off x="9979028" y="3737627"/>
            <a:ext cx="1828800" cy="6096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  <a:spcBef>
                <a:spcPts val="133"/>
              </a:spcBef>
            </a:pPr>
            <a:endParaRPr lang="en-US" sz="800" i="1"/>
          </a:p>
        </p:txBody>
      </p:sp>
      <p:sp>
        <p:nvSpPr>
          <p:cNvPr id="17" name="Freeform 16">
            <a:extLst>
              <a:ext uri="{FF2B5EF4-FFF2-40B4-BE49-F238E27FC236}">
                <a16:creationId xmlns:a16="http://schemas.microsoft.com/office/drawing/2014/main" id="{78C3E80F-FA49-BE48-ABE1-DF7C6AECC0E0}"/>
              </a:ext>
            </a:extLst>
          </p:cNvPr>
          <p:cNvSpPr/>
          <p:nvPr/>
        </p:nvSpPr>
        <p:spPr>
          <a:xfrm>
            <a:off x="1210102" y="2645242"/>
            <a:ext cx="9744501" cy="333021"/>
          </a:xfrm>
          <a:custGeom>
            <a:avLst/>
            <a:gdLst>
              <a:gd name="connsiteX0" fmla="*/ 0 w 1425844"/>
              <a:gd name="connsiteY0" fmla="*/ 302217 h 302217"/>
              <a:gd name="connsiteX1" fmla="*/ 0 w 1425844"/>
              <a:gd name="connsiteY1" fmla="*/ 0 h 302217"/>
              <a:gd name="connsiteX2" fmla="*/ 1425844 w 1425844"/>
              <a:gd name="connsiteY2" fmla="*/ 0 h 302217"/>
              <a:gd name="connsiteX3" fmla="*/ 1425844 w 1425844"/>
              <a:gd name="connsiteY3" fmla="*/ 286719 h 3022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425844" h="302217">
                <a:moveTo>
                  <a:pt x="0" y="302217"/>
                </a:moveTo>
                <a:lnTo>
                  <a:pt x="0" y="0"/>
                </a:lnTo>
                <a:lnTo>
                  <a:pt x="1425844" y="0"/>
                </a:lnTo>
                <a:lnTo>
                  <a:pt x="1425844" y="286719"/>
                </a:lnTo>
              </a:path>
            </a:pathLst>
          </a:custGeom>
          <a:noFill/>
          <a:ln w="12700">
            <a:solidFill>
              <a:schemeClr val="bg1">
                <a:lumMod val="75000"/>
              </a:schemeClr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/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41385E08-16DE-5847-966B-F39FAC019DE3}"/>
              </a:ext>
            </a:extLst>
          </p:cNvPr>
          <p:cNvCxnSpPr>
            <a:cxnSpLocks/>
          </p:cNvCxnSpPr>
          <p:nvPr/>
        </p:nvCxnSpPr>
        <p:spPr>
          <a:xfrm>
            <a:off x="3197223" y="2648647"/>
            <a:ext cx="0" cy="255653"/>
          </a:xfrm>
          <a:prstGeom prst="line">
            <a:avLst/>
          </a:prstGeom>
          <a:noFill/>
          <a:ln w="12700">
            <a:solidFill>
              <a:schemeClr val="bg1">
                <a:lumMod val="75000"/>
              </a:schemeClr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13385725-9166-9842-9302-16E1E81B3F03}"/>
              </a:ext>
            </a:extLst>
          </p:cNvPr>
          <p:cNvCxnSpPr>
            <a:cxnSpLocks/>
          </p:cNvCxnSpPr>
          <p:nvPr/>
        </p:nvCxnSpPr>
        <p:spPr>
          <a:xfrm>
            <a:off x="5145879" y="2648647"/>
            <a:ext cx="0" cy="255653"/>
          </a:xfrm>
          <a:prstGeom prst="line">
            <a:avLst/>
          </a:prstGeom>
          <a:noFill/>
          <a:ln w="12700">
            <a:solidFill>
              <a:schemeClr val="bg1">
                <a:lumMod val="75000"/>
              </a:schemeClr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84B39BA6-1B2E-D049-B42E-9742D9CE1F69}"/>
              </a:ext>
            </a:extLst>
          </p:cNvPr>
          <p:cNvCxnSpPr>
            <a:cxnSpLocks/>
          </p:cNvCxnSpPr>
          <p:nvPr/>
        </p:nvCxnSpPr>
        <p:spPr>
          <a:xfrm>
            <a:off x="7045324" y="2648647"/>
            <a:ext cx="0" cy="255653"/>
          </a:xfrm>
          <a:prstGeom prst="line">
            <a:avLst/>
          </a:prstGeom>
          <a:noFill/>
          <a:ln w="12700">
            <a:solidFill>
              <a:schemeClr val="bg1">
                <a:lumMod val="75000"/>
              </a:schemeClr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1DBD6B99-A235-E448-A516-A252EE77D341}"/>
              </a:ext>
            </a:extLst>
          </p:cNvPr>
          <p:cNvCxnSpPr>
            <a:cxnSpLocks/>
          </p:cNvCxnSpPr>
          <p:nvPr/>
        </p:nvCxnSpPr>
        <p:spPr>
          <a:xfrm>
            <a:off x="8969375" y="2648647"/>
            <a:ext cx="0" cy="255653"/>
          </a:xfrm>
          <a:prstGeom prst="line">
            <a:avLst/>
          </a:prstGeom>
          <a:noFill/>
          <a:ln w="12700">
            <a:solidFill>
              <a:schemeClr val="bg1">
                <a:lumMod val="75000"/>
              </a:schemeClr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cxnSp>
      <p:sp>
        <p:nvSpPr>
          <p:cNvPr id="22" name="Rectangle 21">
            <a:extLst>
              <a:ext uri="{FF2B5EF4-FFF2-40B4-BE49-F238E27FC236}">
                <a16:creationId xmlns:a16="http://schemas.microsoft.com/office/drawing/2014/main" id="{17EEF870-3D1D-2C45-9588-9EE6E40753E0}"/>
              </a:ext>
            </a:extLst>
          </p:cNvPr>
          <p:cNvSpPr/>
          <p:nvPr/>
        </p:nvSpPr>
        <p:spPr>
          <a:xfrm>
            <a:off x="358772" y="5558756"/>
            <a:ext cx="1828800" cy="6096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  <a:spcBef>
                <a:spcPts val="133"/>
              </a:spcBef>
            </a:pPr>
            <a:endParaRPr lang="en-US" sz="800" i="1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A9843575-5468-A543-A98D-14499E84B382}"/>
              </a:ext>
            </a:extLst>
          </p:cNvPr>
          <p:cNvSpPr/>
          <p:nvPr/>
        </p:nvSpPr>
        <p:spPr>
          <a:xfrm>
            <a:off x="8054975" y="5558756"/>
            <a:ext cx="1828800" cy="6096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  <a:spcBef>
                <a:spcPts val="133"/>
              </a:spcBef>
            </a:pPr>
            <a:endParaRPr lang="en-US" sz="800" i="1"/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86538AE7-812A-194E-BEF8-5E8D10C01557}"/>
              </a:ext>
            </a:extLst>
          </p:cNvPr>
          <p:cNvSpPr/>
          <p:nvPr/>
        </p:nvSpPr>
        <p:spPr>
          <a:xfrm>
            <a:off x="2282823" y="5558756"/>
            <a:ext cx="1828800" cy="6096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  <a:spcBef>
                <a:spcPts val="133"/>
              </a:spcBef>
            </a:pPr>
            <a:endParaRPr lang="en-US" sz="800" i="1"/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B67EB88F-619A-B64B-A890-7A9D02EADD88}"/>
              </a:ext>
            </a:extLst>
          </p:cNvPr>
          <p:cNvSpPr/>
          <p:nvPr/>
        </p:nvSpPr>
        <p:spPr>
          <a:xfrm>
            <a:off x="4231479" y="5558756"/>
            <a:ext cx="1828800" cy="6096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  <a:spcBef>
                <a:spcPts val="133"/>
              </a:spcBef>
            </a:pPr>
            <a:endParaRPr lang="en-US" sz="800" i="1"/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76FB7492-0DDF-9F42-99F6-3FAC53DBC27C}"/>
              </a:ext>
            </a:extLst>
          </p:cNvPr>
          <p:cNvSpPr/>
          <p:nvPr/>
        </p:nvSpPr>
        <p:spPr>
          <a:xfrm>
            <a:off x="6130924" y="5558756"/>
            <a:ext cx="1828800" cy="6096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  <a:spcBef>
                <a:spcPts val="133"/>
              </a:spcBef>
            </a:pPr>
            <a:endParaRPr lang="en-US" sz="800" i="1"/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8CC6BA25-0D62-A740-A54F-9B9AF8C833D6}"/>
              </a:ext>
            </a:extLst>
          </p:cNvPr>
          <p:cNvSpPr/>
          <p:nvPr/>
        </p:nvSpPr>
        <p:spPr>
          <a:xfrm>
            <a:off x="9979028" y="5558756"/>
            <a:ext cx="1828800" cy="6096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  <a:spcBef>
                <a:spcPts val="133"/>
              </a:spcBef>
            </a:pPr>
            <a:endParaRPr lang="en-US" sz="800" i="1"/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id="{17FF7242-274F-B44B-A7E5-86577B8E441B}"/>
              </a:ext>
            </a:extLst>
          </p:cNvPr>
          <p:cNvGrpSpPr/>
          <p:nvPr/>
        </p:nvGrpSpPr>
        <p:grpSpPr>
          <a:xfrm>
            <a:off x="5656580" y="964037"/>
            <a:ext cx="853440" cy="853440"/>
            <a:chOff x="4243624" y="656353"/>
            <a:chExt cx="640080" cy="640080"/>
          </a:xfrm>
        </p:grpSpPr>
        <p:sp>
          <p:nvSpPr>
            <p:cNvPr id="29" name="Oval 28">
              <a:extLst>
                <a:ext uri="{FF2B5EF4-FFF2-40B4-BE49-F238E27FC236}">
                  <a16:creationId xmlns:a16="http://schemas.microsoft.com/office/drawing/2014/main" id="{5282B30E-C82D-6D47-A82E-A5DC1BAD030D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243624" y="656353"/>
              <a:ext cx="640080" cy="64008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30" name="Graphic 11">
              <a:extLst>
                <a:ext uri="{FF2B5EF4-FFF2-40B4-BE49-F238E27FC236}">
                  <a16:creationId xmlns:a16="http://schemas.microsoft.com/office/drawing/2014/main" id="{EFC937D1-D238-EB4A-A5C0-6FF2B6EFC3B8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378703" y="775225"/>
              <a:ext cx="369923" cy="402336"/>
            </a:xfrm>
            <a:custGeom>
              <a:avLst/>
              <a:gdLst>
                <a:gd name="connsiteX0" fmla="*/ 143627 w 158948"/>
                <a:gd name="connsiteY0" fmla="*/ 106291 h 172875"/>
                <a:gd name="connsiteX1" fmla="*/ 139960 w 158948"/>
                <a:gd name="connsiteY1" fmla="*/ 104458 h 172875"/>
                <a:gd name="connsiteX2" fmla="*/ 127736 w 158948"/>
                <a:gd name="connsiteY2" fmla="*/ 99571 h 172875"/>
                <a:gd name="connsiteX3" fmla="*/ 127736 w 158948"/>
                <a:gd name="connsiteY3" fmla="*/ 99571 h 172875"/>
                <a:gd name="connsiteX4" fmla="*/ 124680 w 158948"/>
                <a:gd name="connsiteY4" fmla="*/ 98350 h 172875"/>
                <a:gd name="connsiteX5" fmla="*/ 116735 w 158948"/>
                <a:gd name="connsiteY5" fmla="*/ 95906 h 172875"/>
                <a:gd name="connsiteX6" fmla="*/ 106956 w 158948"/>
                <a:gd name="connsiteY6" fmla="*/ 93463 h 172875"/>
                <a:gd name="connsiteX7" fmla="*/ 101456 w 158948"/>
                <a:gd name="connsiteY7" fmla="*/ 83689 h 172875"/>
                <a:gd name="connsiteX8" fmla="*/ 124069 w 158948"/>
                <a:gd name="connsiteY8" fmla="*/ 44593 h 172875"/>
                <a:gd name="connsiteX9" fmla="*/ 79453 w 158948"/>
                <a:gd name="connsiteY9" fmla="*/ 0 h 172875"/>
                <a:gd name="connsiteX10" fmla="*/ 34837 w 158948"/>
                <a:gd name="connsiteY10" fmla="*/ 44593 h 172875"/>
                <a:gd name="connsiteX11" fmla="*/ 57451 w 158948"/>
                <a:gd name="connsiteY11" fmla="*/ 83689 h 172875"/>
                <a:gd name="connsiteX12" fmla="*/ 51950 w 158948"/>
                <a:gd name="connsiteY12" fmla="*/ 94074 h 172875"/>
                <a:gd name="connsiteX13" fmla="*/ 42171 w 158948"/>
                <a:gd name="connsiteY13" fmla="*/ 95906 h 172875"/>
                <a:gd name="connsiteX14" fmla="*/ 34226 w 158948"/>
                <a:gd name="connsiteY14" fmla="*/ 98350 h 172875"/>
                <a:gd name="connsiteX15" fmla="*/ 28726 w 158948"/>
                <a:gd name="connsiteY15" fmla="*/ 100182 h 172875"/>
                <a:gd name="connsiteX16" fmla="*/ 28726 w 158948"/>
                <a:gd name="connsiteY16" fmla="*/ 100182 h 172875"/>
                <a:gd name="connsiteX17" fmla="*/ 23225 w 158948"/>
                <a:gd name="connsiteY17" fmla="*/ 102626 h 172875"/>
                <a:gd name="connsiteX18" fmla="*/ 23225 w 158948"/>
                <a:gd name="connsiteY18" fmla="*/ 102626 h 172875"/>
                <a:gd name="connsiteX19" fmla="*/ 15891 w 158948"/>
                <a:gd name="connsiteY19" fmla="*/ 106291 h 172875"/>
                <a:gd name="connsiteX20" fmla="*/ 0 w 158948"/>
                <a:gd name="connsiteY20" fmla="*/ 132558 h 172875"/>
                <a:gd name="connsiteX21" fmla="*/ 0 w 158948"/>
                <a:gd name="connsiteY21" fmla="*/ 140499 h 172875"/>
                <a:gd name="connsiteX22" fmla="*/ 10390 w 158948"/>
                <a:gd name="connsiteY22" fmla="*/ 158215 h 172875"/>
                <a:gd name="connsiteX23" fmla="*/ 79453 w 158948"/>
                <a:gd name="connsiteY23" fmla="*/ 172875 h 172875"/>
                <a:gd name="connsiteX24" fmla="*/ 148517 w 158948"/>
                <a:gd name="connsiteY24" fmla="*/ 158215 h 172875"/>
                <a:gd name="connsiteX25" fmla="*/ 158907 w 158948"/>
                <a:gd name="connsiteY25" fmla="*/ 140499 h 172875"/>
                <a:gd name="connsiteX26" fmla="*/ 158907 w 158948"/>
                <a:gd name="connsiteY26" fmla="*/ 132558 h 172875"/>
                <a:gd name="connsiteX27" fmla="*/ 143627 w 158948"/>
                <a:gd name="connsiteY27" fmla="*/ 106291 h 172875"/>
                <a:gd name="connsiteX28" fmla="*/ 40338 w 158948"/>
                <a:gd name="connsiteY28" fmla="*/ 45204 h 172875"/>
                <a:gd name="connsiteX29" fmla="*/ 80064 w 158948"/>
                <a:gd name="connsiteY29" fmla="*/ 5498 h 172875"/>
                <a:gd name="connsiteX30" fmla="*/ 119791 w 158948"/>
                <a:gd name="connsiteY30" fmla="*/ 45204 h 172875"/>
                <a:gd name="connsiteX31" fmla="*/ 80064 w 158948"/>
                <a:gd name="connsiteY31" fmla="*/ 84911 h 172875"/>
                <a:gd name="connsiteX32" fmla="*/ 40338 w 158948"/>
                <a:gd name="connsiteY32" fmla="*/ 45204 h 172875"/>
                <a:gd name="connsiteX33" fmla="*/ 54395 w 158948"/>
                <a:gd name="connsiteY33" fmla="*/ 100182 h 172875"/>
                <a:gd name="connsiteX34" fmla="*/ 54395 w 158948"/>
                <a:gd name="connsiteY34" fmla="*/ 100182 h 172875"/>
                <a:gd name="connsiteX35" fmla="*/ 54395 w 158948"/>
                <a:gd name="connsiteY35" fmla="*/ 100182 h 172875"/>
                <a:gd name="connsiteX36" fmla="*/ 55006 w 158948"/>
                <a:gd name="connsiteY36" fmla="*/ 100182 h 172875"/>
                <a:gd name="connsiteX37" fmla="*/ 55617 w 158948"/>
                <a:gd name="connsiteY37" fmla="*/ 99571 h 172875"/>
                <a:gd name="connsiteX38" fmla="*/ 55617 w 158948"/>
                <a:gd name="connsiteY38" fmla="*/ 99571 h 172875"/>
                <a:gd name="connsiteX39" fmla="*/ 62951 w 158948"/>
                <a:gd name="connsiteY39" fmla="*/ 87354 h 172875"/>
                <a:gd name="connsiteX40" fmla="*/ 79453 w 158948"/>
                <a:gd name="connsiteY40" fmla="*/ 90408 h 172875"/>
                <a:gd name="connsiteX41" fmla="*/ 95955 w 158948"/>
                <a:gd name="connsiteY41" fmla="*/ 87354 h 172875"/>
                <a:gd name="connsiteX42" fmla="*/ 103289 w 158948"/>
                <a:gd name="connsiteY42" fmla="*/ 99571 h 172875"/>
                <a:gd name="connsiteX43" fmla="*/ 103289 w 158948"/>
                <a:gd name="connsiteY43" fmla="*/ 99571 h 172875"/>
                <a:gd name="connsiteX44" fmla="*/ 103901 w 158948"/>
                <a:gd name="connsiteY44" fmla="*/ 100182 h 172875"/>
                <a:gd name="connsiteX45" fmla="*/ 104512 w 158948"/>
                <a:gd name="connsiteY45" fmla="*/ 100182 h 172875"/>
                <a:gd name="connsiteX46" fmla="*/ 104512 w 158948"/>
                <a:gd name="connsiteY46" fmla="*/ 100182 h 172875"/>
                <a:gd name="connsiteX47" fmla="*/ 108179 w 158948"/>
                <a:gd name="connsiteY47" fmla="*/ 100793 h 172875"/>
                <a:gd name="connsiteX48" fmla="*/ 79453 w 158948"/>
                <a:gd name="connsiteY48" fmla="*/ 119730 h 172875"/>
                <a:gd name="connsiteX49" fmla="*/ 50728 w 158948"/>
                <a:gd name="connsiteY49" fmla="*/ 101404 h 172875"/>
                <a:gd name="connsiteX50" fmla="*/ 54395 w 158948"/>
                <a:gd name="connsiteY50" fmla="*/ 100182 h 172875"/>
                <a:gd name="connsiteX51" fmla="*/ 146072 w 158948"/>
                <a:gd name="connsiteY51" fmla="*/ 153939 h 172875"/>
                <a:gd name="connsiteX52" fmla="*/ 79453 w 158948"/>
                <a:gd name="connsiteY52" fmla="*/ 167988 h 172875"/>
                <a:gd name="connsiteX53" fmla="*/ 12835 w 158948"/>
                <a:gd name="connsiteY53" fmla="*/ 153939 h 172875"/>
                <a:gd name="connsiteX54" fmla="*/ 5500 w 158948"/>
                <a:gd name="connsiteY54" fmla="*/ 141110 h 172875"/>
                <a:gd name="connsiteX55" fmla="*/ 5500 w 158948"/>
                <a:gd name="connsiteY55" fmla="*/ 133169 h 172875"/>
                <a:gd name="connsiteX56" fmla="*/ 18335 w 158948"/>
                <a:gd name="connsiteY56" fmla="*/ 111789 h 172875"/>
                <a:gd name="connsiteX57" fmla="*/ 35448 w 158948"/>
                <a:gd name="connsiteY57" fmla="*/ 104458 h 172875"/>
                <a:gd name="connsiteX58" fmla="*/ 43394 w 158948"/>
                <a:gd name="connsiteY58" fmla="*/ 102015 h 172875"/>
                <a:gd name="connsiteX59" fmla="*/ 44616 w 158948"/>
                <a:gd name="connsiteY59" fmla="*/ 102015 h 172875"/>
                <a:gd name="connsiteX60" fmla="*/ 78842 w 158948"/>
                <a:gd name="connsiteY60" fmla="*/ 125228 h 172875"/>
                <a:gd name="connsiteX61" fmla="*/ 113068 w 158948"/>
                <a:gd name="connsiteY61" fmla="*/ 102015 h 172875"/>
                <a:gd name="connsiteX62" fmla="*/ 114291 w 158948"/>
                <a:gd name="connsiteY62" fmla="*/ 102626 h 172875"/>
                <a:gd name="connsiteX63" fmla="*/ 122236 w 158948"/>
                <a:gd name="connsiteY63" fmla="*/ 105069 h 172875"/>
                <a:gd name="connsiteX64" fmla="*/ 139349 w 158948"/>
                <a:gd name="connsiteY64" fmla="*/ 112400 h 172875"/>
                <a:gd name="connsiteX65" fmla="*/ 152184 w 158948"/>
                <a:gd name="connsiteY65" fmla="*/ 133780 h 172875"/>
                <a:gd name="connsiteX66" fmla="*/ 152184 w 158948"/>
                <a:gd name="connsiteY66" fmla="*/ 141721 h 172875"/>
                <a:gd name="connsiteX67" fmla="*/ 146072 w 158948"/>
                <a:gd name="connsiteY67" fmla="*/ 153939 h 172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158948" h="172875">
                  <a:moveTo>
                    <a:pt x="143627" y="106291"/>
                  </a:moveTo>
                  <a:cubicBezTo>
                    <a:pt x="142405" y="105680"/>
                    <a:pt x="141182" y="105069"/>
                    <a:pt x="139960" y="104458"/>
                  </a:cubicBezTo>
                  <a:cubicBezTo>
                    <a:pt x="136904" y="102626"/>
                    <a:pt x="127736" y="99571"/>
                    <a:pt x="127736" y="99571"/>
                  </a:cubicBezTo>
                  <a:lnTo>
                    <a:pt x="127736" y="99571"/>
                  </a:lnTo>
                  <a:cubicBezTo>
                    <a:pt x="126514" y="98961"/>
                    <a:pt x="125903" y="98961"/>
                    <a:pt x="124680" y="98350"/>
                  </a:cubicBezTo>
                  <a:cubicBezTo>
                    <a:pt x="121625" y="97128"/>
                    <a:pt x="119180" y="96517"/>
                    <a:pt x="116735" y="95906"/>
                  </a:cubicBezTo>
                  <a:cubicBezTo>
                    <a:pt x="113679" y="94684"/>
                    <a:pt x="110012" y="94074"/>
                    <a:pt x="106956" y="93463"/>
                  </a:cubicBezTo>
                  <a:cubicBezTo>
                    <a:pt x="104512" y="91019"/>
                    <a:pt x="102678" y="87354"/>
                    <a:pt x="101456" y="83689"/>
                  </a:cubicBezTo>
                  <a:cubicBezTo>
                    <a:pt x="114902" y="75748"/>
                    <a:pt x="124069" y="61698"/>
                    <a:pt x="124069" y="44593"/>
                  </a:cubicBezTo>
                  <a:cubicBezTo>
                    <a:pt x="124069" y="20159"/>
                    <a:pt x="103901" y="0"/>
                    <a:pt x="79453" y="0"/>
                  </a:cubicBezTo>
                  <a:cubicBezTo>
                    <a:pt x="55006" y="0"/>
                    <a:pt x="34837" y="20159"/>
                    <a:pt x="34837" y="44593"/>
                  </a:cubicBezTo>
                  <a:cubicBezTo>
                    <a:pt x="34837" y="61087"/>
                    <a:pt x="44005" y="75748"/>
                    <a:pt x="57451" y="83689"/>
                  </a:cubicBezTo>
                  <a:cubicBezTo>
                    <a:pt x="56229" y="87354"/>
                    <a:pt x="54395" y="91019"/>
                    <a:pt x="51950" y="94074"/>
                  </a:cubicBezTo>
                  <a:cubicBezTo>
                    <a:pt x="45838" y="95295"/>
                    <a:pt x="42171" y="95906"/>
                    <a:pt x="42171" y="95906"/>
                  </a:cubicBezTo>
                  <a:cubicBezTo>
                    <a:pt x="39727" y="96517"/>
                    <a:pt x="37282" y="97128"/>
                    <a:pt x="34226" y="98350"/>
                  </a:cubicBezTo>
                  <a:cubicBezTo>
                    <a:pt x="32392" y="98961"/>
                    <a:pt x="30559" y="99571"/>
                    <a:pt x="28726" y="100182"/>
                  </a:cubicBezTo>
                  <a:cubicBezTo>
                    <a:pt x="28726" y="100182"/>
                    <a:pt x="28726" y="100182"/>
                    <a:pt x="28726" y="100182"/>
                  </a:cubicBezTo>
                  <a:cubicBezTo>
                    <a:pt x="26892" y="100793"/>
                    <a:pt x="25058" y="102015"/>
                    <a:pt x="23225" y="102626"/>
                  </a:cubicBezTo>
                  <a:cubicBezTo>
                    <a:pt x="23225" y="102626"/>
                    <a:pt x="23225" y="102626"/>
                    <a:pt x="23225" y="102626"/>
                  </a:cubicBezTo>
                  <a:cubicBezTo>
                    <a:pt x="20780" y="103847"/>
                    <a:pt x="18335" y="105069"/>
                    <a:pt x="15891" y="106291"/>
                  </a:cubicBezTo>
                  <a:cubicBezTo>
                    <a:pt x="6112" y="111178"/>
                    <a:pt x="0" y="121563"/>
                    <a:pt x="0" y="132558"/>
                  </a:cubicBezTo>
                  <a:lnTo>
                    <a:pt x="0" y="140499"/>
                  </a:lnTo>
                  <a:cubicBezTo>
                    <a:pt x="0" y="147830"/>
                    <a:pt x="4278" y="154549"/>
                    <a:pt x="10390" y="158215"/>
                  </a:cubicBezTo>
                  <a:cubicBezTo>
                    <a:pt x="22614" y="164934"/>
                    <a:pt x="45227" y="172875"/>
                    <a:pt x="79453" y="172875"/>
                  </a:cubicBezTo>
                  <a:cubicBezTo>
                    <a:pt x="113679" y="172875"/>
                    <a:pt x="136293" y="164934"/>
                    <a:pt x="148517" y="158215"/>
                  </a:cubicBezTo>
                  <a:cubicBezTo>
                    <a:pt x="155239" y="154549"/>
                    <a:pt x="158907" y="147830"/>
                    <a:pt x="158907" y="140499"/>
                  </a:cubicBezTo>
                  <a:lnTo>
                    <a:pt x="158907" y="132558"/>
                  </a:lnTo>
                  <a:cubicBezTo>
                    <a:pt x="159518" y="121563"/>
                    <a:pt x="153406" y="111789"/>
                    <a:pt x="143627" y="106291"/>
                  </a:cubicBezTo>
                  <a:close/>
                  <a:moveTo>
                    <a:pt x="40338" y="45204"/>
                  </a:moveTo>
                  <a:cubicBezTo>
                    <a:pt x="40338" y="23213"/>
                    <a:pt x="58062" y="5498"/>
                    <a:pt x="80064" y="5498"/>
                  </a:cubicBezTo>
                  <a:cubicBezTo>
                    <a:pt x="102067" y="5498"/>
                    <a:pt x="119791" y="23213"/>
                    <a:pt x="119791" y="45204"/>
                  </a:cubicBezTo>
                  <a:cubicBezTo>
                    <a:pt x="119791" y="67195"/>
                    <a:pt x="102067" y="84911"/>
                    <a:pt x="80064" y="84911"/>
                  </a:cubicBezTo>
                  <a:cubicBezTo>
                    <a:pt x="58062" y="84911"/>
                    <a:pt x="40338" y="67195"/>
                    <a:pt x="40338" y="45204"/>
                  </a:cubicBezTo>
                  <a:close/>
                  <a:moveTo>
                    <a:pt x="54395" y="100182"/>
                  </a:moveTo>
                  <a:lnTo>
                    <a:pt x="54395" y="100182"/>
                  </a:lnTo>
                  <a:cubicBezTo>
                    <a:pt x="55006" y="100182"/>
                    <a:pt x="55006" y="100182"/>
                    <a:pt x="54395" y="100182"/>
                  </a:cubicBezTo>
                  <a:cubicBezTo>
                    <a:pt x="55006" y="100182"/>
                    <a:pt x="55006" y="100182"/>
                    <a:pt x="55006" y="100182"/>
                  </a:cubicBezTo>
                  <a:lnTo>
                    <a:pt x="55617" y="99571"/>
                  </a:lnTo>
                  <a:cubicBezTo>
                    <a:pt x="55617" y="99571"/>
                    <a:pt x="55617" y="99571"/>
                    <a:pt x="55617" y="99571"/>
                  </a:cubicBezTo>
                  <a:cubicBezTo>
                    <a:pt x="59285" y="95906"/>
                    <a:pt x="61729" y="91630"/>
                    <a:pt x="62951" y="87354"/>
                  </a:cubicBezTo>
                  <a:cubicBezTo>
                    <a:pt x="67841" y="89187"/>
                    <a:pt x="73342" y="90408"/>
                    <a:pt x="79453" y="90408"/>
                  </a:cubicBezTo>
                  <a:cubicBezTo>
                    <a:pt x="85565" y="90408"/>
                    <a:pt x="91066" y="89187"/>
                    <a:pt x="95955" y="87354"/>
                  </a:cubicBezTo>
                  <a:cubicBezTo>
                    <a:pt x="97177" y="91630"/>
                    <a:pt x="99622" y="95906"/>
                    <a:pt x="103289" y="99571"/>
                  </a:cubicBezTo>
                  <a:cubicBezTo>
                    <a:pt x="103289" y="99571"/>
                    <a:pt x="103289" y="99571"/>
                    <a:pt x="103289" y="99571"/>
                  </a:cubicBezTo>
                  <a:cubicBezTo>
                    <a:pt x="103289" y="99571"/>
                    <a:pt x="103901" y="99571"/>
                    <a:pt x="103901" y="100182"/>
                  </a:cubicBezTo>
                  <a:cubicBezTo>
                    <a:pt x="103901" y="100182"/>
                    <a:pt x="104512" y="100182"/>
                    <a:pt x="104512" y="100182"/>
                  </a:cubicBezTo>
                  <a:cubicBezTo>
                    <a:pt x="104512" y="100182"/>
                    <a:pt x="104512" y="100182"/>
                    <a:pt x="104512" y="100182"/>
                  </a:cubicBezTo>
                  <a:cubicBezTo>
                    <a:pt x="105734" y="100182"/>
                    <a:pt x="106956" y="100793"/>
                    <a:pt x="108179" y="100793"/>
                  </a:cubicBezTo>
                  <a:cubicBezTo>
                    <a:pt x="106956" y="111178"/>
                    <a:pt x="94733" y="119730"/>
                    <a:pt x="79453" y="119730"/>
                  </a:cubicBezTo>
                  <a:cubicBezTo>
                    <a:pt x="64174" y="119730"/>
                    <a:pt x="52561" y="111789"/>
                    <a:pt x="50728" y="101404"/>
                  </a:cubicBezTo>
                  <a:cubicBezTo>
                    <a:pt x="51950" y="100182"/>
                    <a:pt x="53173" y="100182"/>
                    <a:pt x="54395" y="100182"/>
                  </a:cubicBezTo>
                  <a:close/>
                  <a:moveTo>
                    <a:pt x="146072" y="153939"/>
                  </a:moveTo>
                  <a:cubicBezTo>
                    <a:pt x="136293" y="159436"/>
                    <a:pt x="114902" y="167988"/>
                    <a:pt x="79453" y="167988"/>
                  </a:cubicBezTo>
                  <a:cubicBezTo>
                    <a:pt x="44616" y="167988"/>
                    <a:pt x="22614" y="159436"/>
                    <a:pt x="12835" y="153939"/>
                  </a:cubicBezTo>
                  <a:cubicBezTo>
                    <a:pt x="8556" y="151495"/>
                    <a:pt x="5500" y="146608"/>
                    <a:pt x="5500" y="141110"/>
                  </a:cubicBezTo>
                  <a:lnTo>
                    <a:pt x="5500" y="133169"/>
                  </a:lnTo>
                  <a:cubicBezTo>
                    <a:pt x="5500" y="124006"/>
                    <a:pt x="10390" y="116065"/>
                    <a:pt x="18335" y="111789"/>
                  </a:cubicBezTo>
                  <a:cubicBezTo>
                    <a:pt x="23836" y="108734"/>
                    <a:pt x="29948" y="106291"/>
                    <a:pt x="35448" y="104458"/>
                  </a:cubicBezTo>
                  <a:cubicBezTo>
                    <a:pt x="38504" y="103237"/>
                    <a:pt x="40949" y="102626"/>
                    <a:pt x="43394" y="102015"/>
                  </a:cubicBezTo>
                  <a:lnTo>
                    <a:pt x="44616" y="102015"/>
                  </a:lnTo>
                  <a:cubicBezTo>
                    <a:pt x="47061" y="114843"/>
                    <a:pt x="61729" y="125228"/>
                    <a:pt x="78842" y="125228"/>
                  </a:cubicBezTo>
                  <a:cubicBezTo>
                    <a:pt x="95955" y="125228"/>
                    <a:pt x="110623" y="114843"/>
                    <a:pt x="113068" y="102015"/>
                  </a:cubicBezTo>
                  <a:cubicBezTo>
                    <a:pt x="113679" y="102015"/>
                    <a:pt x="113679" y="102015"/>
                    <a:pt x="114291" y="102626"/>
                  </a:cubicBezTo>
                  <a:cubicBezTo>
                    <a:pt x="116735" y="103237"/>
                    <a:pt x="119180" y="103847"/>
                    <a:pt x="122236" y="105069"/>
                  </a:cubicBezTo>
                  <a:cubicBezTo>
                    <a:pt x="128348" y="106902"/>
                    <a:pt x="133848" y="109345"/>
                    <a:pt x="139349" y="112400"/>
                  </a:cubicBezTo>
                  <a:cubicBezTo>
                    <a:pt x="147294" y="116676"/>
                    <a:pt x="152184" y="124617"/>
                    <a:pt x="152184" y="133780"/>
                  </a:cubicBezTo>
                  <a:lnTo>
                    <a:pt x="152184" y="141721"/>
                  </a:lnTo>
                  <a:cubicBezTo>
                    <a:pt x="153406" y="146608"/>
                    <a:pt x="150962" y="150884"/>
                    <a:pt x="146072" y="153939"/>
                  </a:cubicBezTo>
                  <a:close/>
                </a:path>
              </a:pathLst>
            </a:custGeom>
            <a:solidFill>
              <a:srgbClr val="2473B9"/>
            </a:solidFill>
            <a:ln w="61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</p:grpSp>
      <p:grpSp>
        <p:nvGrpSpPr>
          <p:cNvPr id="31" name="Group 30">
            <a:extLst>
              <a:ext uri="{FF2B5EF4-FFF2-40B4-BE49-F238E27FC236}">
                <a16:creationId xmlns:a16="http://schemas.microsoft.com/office/drawing/2014/main" id="{D52D69A8-B2C2-5F49-80CE-CF44860B1F29}"/>
              </a:ext>
            </a:extLst>
          </p:cNvPr>
          <p:cNvGrpSpPr/>
          <p:nvPr/>
        </p:nvGrpSpPr>
        <p:grpSpPr>
          <a:xfrm>
            <a:off x="4719159" y="2767437"/>
            <a:ext cx="853440" cy="853440"/>
            <a:chOff x="4243624" y="656353"/>
            <a:chExt cx="640080" cy="640080"/>
          </a:xfrm>
        </p:grpSpPr>
        <p:sp>
          <p:nvSpPr>
            <p:cNvPr id="32" name="Oval 31">
              <a:extLst>
                <a:ext uri="{FF2B5EF4-FFF2-40B4-BE49-F238E27FC236}">
                  <a16:creationId xmlns:a16="http://schemas.microsoft.com/office/drawing/2014/main" id="{E24AA2AB-2C86-4E4B-92FE-8ED78BDEF719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243624" y="656353"/>
              <a:ext cx="640080" cy="64008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33" name="Graphic 11">
              <a:extLst>
                <a:ext uri="{FF2B5EF4-FFF2-40B4-BE49-F238E27FC236}">
                  <a16:creationId xmlns:a16="http://schemas.microsoft.com/office/drawing/2014/main" id="{42D8839E-E4BB-5941-898C-524A7CF88E6B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378703" y="775225"/>
              <a:ext cx="369923" cy="402336"/>
            </a:xfrm>
            <a:custGeom>
              <a:avLst/>
              <a:gdLst>
                <a:gd name="connsiteX0" fmla="*/ 143627 w 158948"/>
                <a:gd name="connsiteY0" fmla="*/ 106291 h 172875"/>
                <a:gd name="connsiteX1" fmla="*/ 139960 w 158948"/>
                <a:gd name="connsiteY1" fmla="*/ 104458 h 172875"/>
                <a:gd name="connsiteX2" fmla="*/ 127736 w 158948"/>
                <a:gd name="connsiteY2" fmla="*/ 99571 h 172875"/>
                <a:gd name="connsiteX3" fmla="*/ 127736 w 158948"/>
                <a:gd name="connsiteY3" fmla="*/ 99571 h 172875"/>
                <a:gd name="connsiteX4" fmla="*/ 124680 w 158948"/>
                <a:gd name="connsiteY4" fmla="*/ 98350 h 172875"/>
                <a:gd name="connsiteX5" fmla="*/ 116735 w 158948"/>
                <a:gd name="connsiteY5" fmla="*/ 95906 h 172875"/>
                <a:gd name="connsiteX6" fmla="*/ 106956 w 158948"/>
                <a:gd name="connsiteY6" fmla="*/ 93463 h 172875"/>
                <a:gd name="connsiteX7" fmla="*/ 101456 w 158948"/>
                <a:gd name="connsiteY7" fmla="*/ 83689 h 172875"/>
                <a:gd name="connsiteX8" fmla="*/ 124069 w 158948"/>
                <a:gd name="connsiteY8" fmla="*/ 44593 h 172875"/>
                <a:gd name="connsiteX9" fmla="*/ 79453 w 158948"/>
                <a:gd name="connsiteY9" fmla="*/ 0 h 172875"/>
                <a:gd name="connsiteX10" fmla="*/ 34837 w 158948"/>
                <a:gd name="connsiteY10" fmla="*/ 44593 h 172875"/>
                <a:gd name="connsiteX11" fmla="*/ 57451 w 158948"/>
                <a:gd name="connsiteY11" fmla="*/ 83689 h 172875"/>
                <a:gd name="connsiteX12" fmla="*/ 51950 w 158948"/>
                <a:gd name="connsiteY12" fmla="*/ 94074 h 172875"/>
                <a:gd name="connsiteX13" fmla="*/ 42171 w 158948"/>
                <a:gd name="connsiteY13" fmla="*/ 95906 h 172875"/>
                <a:gd name="connsiteX14" fmla="*/ 34226 w 158948"/>
                <a:gd name="connsiteY14" fmla="*/ 98350 h 172875"/>
                <a:gd name="connsiteX15" fmla="*/ 28726 w 158948"/>
                <a:gd name="connsiteY15" fmla="*/ 100182 h 172875"/>
                <a:gd name="connsiteX16" fmla="*/ 28726 w 158948"/>
                <a:gd name="connsiteY16" fmla="*/ 100182 h 172875"/>
                <a:gd name="connsiteX17" fmla="*/ 23225 w 158948"/>
                <a:gd name="connsiteY17" fmla="*/ 102626 h 172875"/>
                <a:gd name="connsiteX18" fmla="*/ 23225 w 158948"/>
                <a:gd name="connsiteY18" fmla="*/ 102626 h 172875"/>
                <a:gd name="connsiteX19" fmla="*/ 15891 w 158948"/>
                <a:gd name="connsiteY19" fmla="*/ 106291 h 172875"/>
                <a:gd name="connsiteX20" fmla="*/ 0 w 158948"/>
                <a:gd name="connsiteY20" fmla="*/ 132558 h 172875"/>
                <a:gd name="connsiteX21" fmla="*/ 0 w 158948"/>
                <a:gd name="connsiteY21" fmla="*/ 140499 h 172875"/>
                <a:gd name="connsiteX22" fmla="*/ 10390 w 158948"/>
                <a:gd name="connsiteY22" fmla="*/ 158215 h 172875"/>
                <a:gd name="connsiteX23" fmla="*/ 79453 w 158948"/>
                <a:gd name="connsiteY23" fmla="*/ 172875 h 172875"/>
                <a:gd name="connsiteX24" fmla="*/ 148517 w 158948"/>
                <a:gd name="connsiteY24" fmla="*/ 158215 h 172875"/>
                <a:gd name="connsiteX25" fmla="*/ 158907 w 158948"/>
                <a:gd name="connsiteY25" fmla="*/ 140499 h 172875"/>
                <a:gd name="connsiteX26" fmla="*/ 158907 w 158948"/>
                <a:gd name="connsiteY26" fmla="*/ 132558 h 172875"/>
                <a:gd name="connsiteX27" fmla="*/ 143627 w 158948"/>
                <a:gd name="connsiteY27" fmla="*/ 106291 h 172875"/>
                <a:gd name="connsiteX28" fmla="*/ 40338 w 158948"/>
                <a:gd name="connsiteY28" fmla="*/ 45204 h 172875"/>
                <a:gd name="connsiteX29" fmla="*/ 80064 w 158948"/>
                <a:gd name="connsiteY29" fmla="*/ 5498 h 172875"/>
                <a:gd name="connsiteX30" fmla="*/ 119791 w 158948"/>
                <a:gd name="connsiteY30" fmla="*/ 45204 h 172875"/>
                <a:gd name="connsiteX31" fmla="*/ 80064 w 158948"/>
                <a:gd name="connsiteY31" fmla="*/ 84911 h 172875"/>
                <a:gd name="connsiteX32" fmla="*/ 40338 w 158948"/>
                <a:gd name="connsiteY32" fmla="*/ 45204 h 172875"/>
                <a:gd name="connsiteX33" fmla="*/ 54395 w 158948"/>
                <a:gd name="connsiteY33" fmla="*/ 100182 h 172875"/>
                <a:gd name="connsiteX34" fmla="*/ 54395 w 158948"/>
                <a:gd name="connsiteY34" fmla="*/ 100182 h 172875"/>
                <a:gd name="connsiteX35" fmla="*/ 54395 w 158948"/>
                <a:gd name="connsiteY35" fmla="*/ 100182 h 172875"/>
                <a:gd name="connsiteX36" fmla="*/ 55006 w 158948"/>
                <a:gd name="connsiteY36" fmla="*/ 100182 h 172875"/>
                <a:gd name="connsiteX37" fmla="*/ 55617 w 158948"/>
                <a:gd name="connsiteY37" fmla="*/ 99571 h 172875"/>
                <a:gd name="connsiteX38" fmla="*/ 55617 w 158948"/>
                <a:gd name="connsiteY38" fmla="*/ 99571 h 172875"/>
                <a:gd name="connsiteX39" fmla="*/ 62951 w 158948"/>
                <a:gd name="connsiteY39" fmla="*/ 87354 h 172875"/>
                <a:gd name="connsiteX40" fmla="*/ 79453 w 158948"/>
                <a:gd name="connsiteY40" fmla="*/ 90408 h 172875"/>
                <a:gd name="connsiteX41" fmla="*/ 95955 w 158948"/>
                <a:gd name="connsiteY41" fmla="*/ 87354 h 172875"/>
                <a:gd name="connsiteX42" fmla="*/ 103289 w 158948"/>
                <a:gd name="connsiteY42" fmla="*/ 99571 h 172875"/>
                <a:gd name="connsiteX43" fmla="*/ 103289 w 158948"/>
                <a:gd name="connsiteY43" fmla="*/ 99571 h 172875"/>
                <a:gd name="connsiteX44" fmla="*/ 103901 w 158948"/>
                <a:gd name="connsiteY44" fmla="*/ 100182 h 172875"/>
                <a:gd name="connsiteX45" fmla="*/ 104512 w 158948"/>
                <a:gd name="connsiteY45" fmla="*/ 100182 h 172875"/>
                <a:gd name="connsiteX46" fmla="*/ 104512 w 158948"/>
                <a:gd name="connsiteY46" fmla="*/ 100182 h 172875"/>
                <a:gd name="connsiteX47" fmla="*/ 108179 w 158948"/>
                <a:gd name="connsiteY47" fmla="*/ 100793 h 172875"/>
                <a:gd name="connsiteX48" fmla="*/ 79453 w 158948"/>
                <a:gd name="connsiteY48" fmla="*/ 119730 h 172875"/>
                <a:gd name="connsiteX49" fmla="*/ 50728 w 158948"/>
                <a:gd name="connsiteY49" fmla="*/ 101404 h 172875"/>
                <a:gd name="connsiteX50" fmla="*/ 54395 w 158948"/>
                <a:gd name="connsiteY50" fmla="*/ 100182 h 172875"/>
                <a:gd name="connsiteX51" fmla="*/ 146072 w 158948"/>
                <a:gd name="connsiteY51" fmla="*/ 153939 h 172875"/>
                <a:gd name="connsiteX52" fmla="*/ 79453 w 158948"/>
                <a:gd name="connsiteY52" fmla="*/ 167988 h 172875"/>
                <a:gd name="connsiteX53" fmla="*/ 12835 w 158948"/>
                <a:gd name="connsiteY53" fmla="*/ 153939 h 172875"/>
                <a:gd name="connsiteX54" fmla="*/ 5500 w 158948"/>
                <a:gd name="connsiteY54" fmla="*/ 141110 h 172875"/>
                <a:gd name="connsiteX55" fmla="*/ 5500 w 158948"/>
                <a:gd name="connsiteY55" fmla="*/ 133169 h 172875"/>
                <a:gd name="connsiteX56" fmla="*/ 18335 w 158948"/>
                <a:gd name="connsiteY56" fmla="*/ 111789 h 172875"/>
                <a:gd name="connsiteX57" fmla="*/ 35448 w 158948"/>
                <a:gd name="connsiteY57" fmla="*/ 104458 h 172875"/>
                <a:gd name="connsiteX58" fmla="*/ 43394 w 158948"/>
                <a:gd name="connsiteY58" fmla="*/ 102015 h 172875"/>
                <a:gd name="connsiteX59" fmla="*/ 44616 w 158948"/>
                <a:gd name="connsiteY59" fmla="*/ 102015 h 172875"/>
                <a:gd name="connsiteX60" fmla="*/ 78842 w 158948"/>
                <a:gd name="connsiteY60" fmla="*/ 125228 h 172875"/>
                <a:gd name="connsiteX61" fmla="*/ 113068 w 158948"/>
                <a:gd name="connsiteY61" fmla="*/ 102015 h 172875"/>
                <a:gd name="connsiteX62" fmla="*/ 114291 w 158948"/>
                <a:gd name="connsiteY62" fmla="*/ 102626 h 172875"/>
                <a:gd name="connsiteX63" fmla="*/ 122236 w 158948"/>
                <a:gd name="connsiteY63" fmla="*/ 105069 h 172875"/>
                <a:gd name="connsiteX64" fmla="*/ 139349 w 158948"/>
                <a:gd name="connsiteY64" fmla="*/ 112400 h 172875"/>
                <a:gd name="connsiteX65" fmla="*/ 152184 w 158948"/>
                <a:gd name="connsiteY65" fmla="*/ 133780 h 172875"/>
                <a:gd name="connsiteX66" fmla="*/ 152184 w 158948"/>
                <a:gd name="connsiteY66" fmla="*/ 141721 h 172875"/>
                <a:gd name="connsiteX67" fmla="*/ 146072 w 158948"/>
                <a:gd name="connsiteY67" fmla="*/ 153939 h 172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158948" h="172875">
                  <a:moveTo>
                    <a:pt x="143627" y="106291"/>
                  </a:moveTo>
                  <a:cubicBezTo>
                    <a:pt x="142405" y="105680"/>
                    <a:pt x="141182" y="105069"/>
                    <a:pt x="139960" y="104458"/>
                  </a:cubicBezTo>
                  <a:cubicBezTo>
                    <a:pt x="136904" y="102626"/>
                    <a:pt x="127736" y="99571"/>
                    <a:pt x="127736" y="99571"/>
                  </a:cubicBezTo>
                  <a:lnTo>
                    <a:pt x="127736" y="99571"/>
                  </a:lnTo>
                  <a:cubicBezTo>
                    <a:pt x="126514" y="98961"/>
                    <a:pt x="125903" y="98961"/>
                    <a:pt x="124680" y="98350"/>
                  </a:cubicBezTo>
                  <a:cubicBezTo>
                    <a:pt x="121625" y="97128"/>
                    <a:pt x="119180" y="96517"/>
                    <a:pt x="116735" y="95906"/>
                  </a:cubicBezTo>
                  <a:cubicBezTo>
                    <a:pt x="113679" y="94684"/>
                    <a:pt x="110012" y="94074"/>
                    <a:pt x="106956" y="93463"/>
                  </a:cubicBezTo>
                  <a:cubicBezTo>
                    <a:pt x="104512" y="91019"/>
                    <a:pt x="102678" y="87354"/>
                    <a:pt x="101456" y="83689"/>
                  </a:cubicBezTo>
                  <a:cubicBezTo>
                    <a:pt x="114902" y="75748"/>
                    <a:pt x="124069" y="61698"/>
                    <a:pt x="124069" y="44593"/>
                  </a:cubicBezTo>
                  <a:cubicBezTo>
                    <a:pt x="124069" y="20159"/>
                    <a:pt x="103901" y="0"/>
                    <a:pt x="79453" y="0"/>
                  </a:cubicBezTo>
                  <a:cubicBezTo>
                    <a:pt x="55006" y="0"/>
                    <a:pt x="34837" y="20159"/>
                    <a:pt x="34837" y="44593"/>
                  </a:cubicBezTo>
                  <a:cubicBezTo>
                    <a:pt x="34837" y="61087"/>
                    <a:pt x="44005" y="75748"/>
                    <a:pt x="57451" y="83689"/>
                  </a:cubicBezTo>
                  <a:cubicBezTo>
                    <a:pt x="56229" y="87354"/>
                    <a:pt x="54395" y="91019"/>
                    <a:pt x="51950" y="94074"/>
                  </a:cubicBezTo>
                  <a:cubicBezTo>
                    <a:pt x="45838" y="95295"/>
                    <a:pt x="42171" y="95906"/>
                    <a:pt x="42171" y="95906"/>
                  </a:cubicBezTo>
                  <a:cubicBezTo>
                    <a:pt x="39727" y="96517"/>
                    <a:pt x="37282" y="97128"/>
                    <a:pt x="34226" y="98350"/>
                  </a:cubicBezTo>
                  <a:cubicBezTo>
                    <a:pt x="32392" y="98961"/>
                    <a:pt x="30559" y="99571"/>
                    <a:pt x="28726" y="100182"/>
                  </a:cubicBezTo>
                  <a:cubicBezTo>
                    <a:pt x="28726" y="100182"/>
                    <a:pt x="28726" y="100182"/>
                    <a:pt x="28726" y="100182"/>
                  </a:cubicBezTo>
                  <a:cubicBezTo>
                    <a:pt x="26892" y="100793"/>
                    <a:pt x="25058" y="102015"/>
                    <a:pt x="23225" y="102626"/>
                  </a:cubicBezTo>
                  <a:cubicBezTo>
                    <a:pt x="23225" y="102626"/>
                    <a:pt x="23225" y="102626"/>
                    <a:pt x="23225" y="102626"/>
                  </a:cubicBezTo>
                  <a:cubicBezTo>
                    <a:pt x="20780" y="103847"/>
                    <a:pt x="18335" y="105069"/>
                    <a:pt x="15891" y="106291"/>
                  </a:cubicBezTo>
                  <a:cubicBezTo>
                    <a:pt x="6112" y="111178"/>
                    <a:pt x="0" y="121563"/>
                    <a:pt x="0" y="132558"/>
                  </a:cubicBezTo>
                  <a:lnTo>
                    <a:pt x="0" y="140499"/>
                  </a:lnTo>
                  <a:cubicBezTo>
                    <a:pt x="0" y="147830"/>
                    <a:pt x="4278" y="154549"/>
                    <a:pt x="10390" y="158215"/>
                  </a:cubicBezTo>
                  <a:cubicBezTo>
                    <a:pt x="22614" y="164934"/>
                    <a:pt x="45227" y="172875"/>
                    <a:pt x="79453" y="172875"/>
                  </a:cubicBezTo>
                  <a:cubicBezTo>
                    <a:pt x="113679" y="172875"/>
                    <a:pt x="136293" y="164934"/>
                    <a:pt x="148517" y="158215"/>
                  </a:cubicBezTo>
                  <a:cubicBezTo>
                    <a:pt x="155239" y="154549"/>
                    <a:pt x="158907" y="147830"/>
                    <a:pt x="158907" y="140499"/>
                  </a:cubicBezTo>
                  <a:lnTo>
                    <a:pt x="158907" y="132558"/>
                  </a:lnTo>
                  <a:cubicBezTo>
                    <a:pt x="159518" y="121563"/>
                    <a:pt x="153406" y="111789"/>
                    <a:pt x="143627" y="106291"/>
                  </a:cubicBezTo>
                  <a:close/>
                  <a:moveTo>
                    <a:pt x="40338" y="45204"/>
                  </a:moveTo>
                  <a:cubicBezTo>
                    <a:pt x="40338" y="23213"/>
                    <a:pt x="58062" y="5498"/>
                    <a:pt x="80064" y="5498"/>
                  </a:cubicBezTo>
                  <a:cubicBezTo>
                    <a:pt x="102067" y="5498"/>
                    <a:pt x="119791" y="23213"/>
                    <a:pt x="119791" y="45204"/>
                  </a:cubicBezTo>
                  <a:cubicBezTo>
                    <a:pt x="119791" y="67195"/>
                    <a:pt x="102067" y="84911"/>
                    <a:pt x="80064" y="84911"/>
                  </a:cubicBezTo>
                  <a:cubicBezTo>
                    <a:pt x="58062" y="84911"/>
                    <a:pt x="40338" y="67195"/>
                    <a:pt x="40338" y="45204"/>
                  </a:cubicBezTo>
                  <a:close/>
                  <a:moveTo>
                    <a:pt x="54395" y="100182"/>
                  </a:moveTo>
                  <a:lnTo>
                    <a:pt x="54395" y="100182"/>
                  </a:lnTo>
                  <a:cubicBezTo>
                    <a:pt x="55006" y="100182"/>
                    <a:pt x="55006" y="100182"/>
                    <a:pt x="54395" y="100182"/>
                  </a:cubicBezTo>
                  <a:cubicBezTo>
                    <a:pt x="55006" y="100182"/>
                    <a:pt x="55006" y="100182"/>
                    <a:pt x="55006" y="100182"/>
                  </a:cubicBezTo>
                  <a:lnTo>
                    <a:pt x="55617" y="99571"/>
                  </a:lnTo>
                  <a:cubicBezTo>
                    <a:pt x="55617" y="99571"/>
                    <a:pt x="55617" y="99571"/>
                    <a:pt x="55617" y="99571"/>
                  </a:cubicBezTo>
                  <a:cubicBezTo>
                    <a:pt x="59285" y="95906"/>
                    <a:pt x="61729" y="91630"/>
                    <a:pt x="62951" y="87354"/>
                  </a:cubicBezTo>
                  <a:cubicBezTo>
                    <a:pt x="67841" y="89187"/>
                    <a:pt x="73342" y="90408"/>
                    <a:pt x="79453" y="90408"/>
                  </a:cubicBezTo>
                  <a:cubicBezTo>
                    <a:pt x="85565" y="90408"/>
                    <a:pt x="91066" y="89187"/>
                    <a:pt x="95955" y="87354"/>
                  </a:cubicBezTo>
                  <a:cubicBezTo>
                    <a:pt x="97177" y="91630"/>
                    <a:pt x="99622" y="95906"/>
                    <a:pt x="103289" y="99571"/>
                  </a:cubicBezTo>
                  <a:cubicBezTo>
                    <a:pt x="103289" y="99571"/>
                    <a:pt x="103289" y="99571"/>
                    <a:pt x="103289" y="99571"/>
                  </a:cubicBezTo>
                  <a:cubicBezTo>
                    <a:pt x="103289" y="99571"/>
                    <a:pt x="103901" y="99571"/>
                    <a:pt x="103901" y="100182"/>
                  </a:cubicBezTo>
                  <a:cubicBezTo>
                    <a:pt x="103901" y="100182"/>
                    <a:pt x="104512" y="100182"/>
                    <a:pt x="104512" y="100182"/>
                  </a:cubicBezTo>
                  <a:cubicBezTo>
                    <a:pt x="104512" y="100182"/>
                    <a:pt x="104512" y="100182"/>
                    <a:pt x="104512" y="100182"/>
                  </a:cubicBezTo>
                  <a:cubicBezTo>
                    <a:pt x="105734" y="100182"/>
                    <a:pt x="106956" y="100793"/>
                    <a:pt x="108179" y="100793"/>
                  </a:cubicBezTo>
                  <a:cubicBezTo>
                    <a:pt x="106956" y="111178"/>
                    <a:pt x="94733" y="119730"/>
                    <a:pt x="79453" y="119730"/>
                  </a:cubicBezTo>
                  <a:cubicBezTo>
                    <a:pt x="64174" y="119730"/>
                    <a:pt x="52561" y="111789"/>
                    <a:pt x="50728" y="101404"/>
                  </a:cubicBezTo>
                  <a:cubicBezTo>
                    <a:pt x="51950" y="100182"/>
                    <a:pt x="53173" y="100182"/>
                    <a:pt x="54395" y="100182"/>
                  </a:cubicBezTo>
                  <a:close/>
                  <a:moveTo>
                    <a:pt x="146072" y="153939"/>
                  </a:moveTo>
                  <a:cubicBezTo>
                    <a:pt x="136293" y="159436"/>
                    <a:pt x="114902" y="167988"/>
                    <a:pt x="79453" y="167988"/>
                  </a:cubicBezTo>
                  <a:cubicBezTo>
                    <a:pt x="44616" y="167988"/>
                    <a:pt x="22614" y="159436"/>
                    <a:pt x="12835" y="153939"/>
                  </a:cubicBezTo>
                  <a:cubicBezTo>
                    <a:pt x="8556" y="151495"/>
                    <a:pt x="5500" y="146608"/>
                    <a:pt x="5500" y="141110"/>
                  </a:cubicBezTo>
                  <a:lnTo>
                    <a:pt x="5500" y="133169"/>
                  </a:lnTo>
                  <a:cubicBezTo>
                    <a:pt x="5500" y="124006"/>
                    <a:pt x="10390" y="116065"/>
                    <a:pt x="18335" y="111789"/>
                  </a:cubicBezTo>
                  <a:cubicBezTo>
                    <a:pt x="23836" y="108734"/>
                    <a:pt x="29948" y="106291"/>
                    <a:pt x="35448" y="104458"/>
                  </a:cubicBezTo>
                  <a:cubicBezTo>
                    <a:pt x="38504" y="103237"/>
                    <a:pt x="40949" y="102626"/>
                    <a:pt x="43394" y="102015"/>
                  </a:cubicBezTo>
                  <a:lnTo>
                    <a:pt x="44616" y="102015"/>
                  </a:lnTo>
                  <a:cubicBezTo>
                    <a:pt x="47061" y="114843"/>
                    <a:pt x="61729" y="125228"/>
                    <a:pt x="78842" y="125228"/>
                  </a:cubicBezTo>
                  <a:cubicBezTo>
                    <a:pt x="95955" y="125228"/>
                    <a:pt x="110623" y="114843"/>
                    <a:pt x="113068" y="102015"/>
                  </a:cubicBezTo>
                  <a:cubicBezTo>
                    <a:pt x="113679" y="102015"/>
                    <a:pt x="113679" y="102015"/>
                    <a:pt x="114291" y="102626"/>
                  </a:cubicBezTo>
                  <a:cubicBezTo>
                    <a:pt x="116735" y="103237"/>
                    <a:pt x="119180" y="103847"/>
                    <a:pt x="122236" y="105069"/>
                  </a:cubicBezTo>
                  <a:cubicBezTo>
                    <a:pt x="128348" y="106902"/>
                    <a:pt x="133848" y="109345"/>
                    <a:pt x="139349" y="112400"/>
                  </a:cubicBezTo>
                  <a:cubicBezTo>
                    <a:pt x="147294" y="116676"/>
                    <a:pt x="152184" y="124617"/>
                    <a:pt x="152184" y="133780"/>
                  </a:cubicBezTo>
                  <a:lnTo>
                    <a:pt x="152184" y="141721"/>
                  </a:lnTo>
                  <a:cubicBezTo>
                    <a:pt x="153406" y="146608"/>
                    <a:pt x="150962" y="150884"/>
                    <a:pt x="146072" y="153939"/>
                  </a:cubicBezTo>
                  <a:close/>
                </a:path>
              </a:pathLst>
            </a:custGeom>
            <a:solidFill>
              <a:srgbClr val="2473B9"/>
            </a:solidFill>
            <a:ln w="61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</p:grpSp>
      <p:grpSp>
        <p:nvGrpSpPr>
          <p:cNvPr id="34" name="Group 33">
            <a:extLst>
              <a:ext uri="{FF2B5EF4-FFF2-40B4-BE49-F238E27FC236}">
                <a16:creationId xmlns:a16="http://schemas.microsoft.com/office/drawing/2014/main" id="{A074FD05-29C5-A649-B891-CBCEDA7985B0}"/>
              </a:ext>
            </a:extLst>
          </p:cNvPr>
          <p:cNvGrpSpPr/>
          <p:nvPr/>
        </p:nvGrpSpPr>
        <p:grpSpPr>
          <a:xfrm>
            <a:off x="846452" y="2767437"/>
            <a:ext cx="853440" cy="853440"/>
            <a:chOff x="4243624" y="656353"/>
            <a:chExt cx="640080" cy="640080"/>
          </a:xfrm>
        </p:grpSpPr>
        <p:sp>
          <p:nvSpPr>
            <p:cNvPr id="35" name="Oval 34">
              <a:extLst>
                <a:ext uri="{FF2B5EF4-FFF2-40B4-BE49-F238E27FC236}">
                  <a16:creationId xmlns:a16="http://schemas.microsoft.com/office/drawing/2014/main" id="{EBEF0F6F-3AFC-5541-B9A8-3F20DA88D6EE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243624" y="656353"/>
              <a:ext cx="640080" cy="64008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36" name="Graphic 11">
              <a:extLst>
                <a:ext uri="{FF2B5EF4-FFF2-40B4-BE49-F238E27FC236}">
                  <a16:creationId xmlns:a16="http://schemas.microsoft.com/office/drawing/2014/main" id="{B6A24DBA-1E7C-AE45-9B1F-80FA55B8A443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378703" y="775225"/>
              <a:ext cx="369923" cy="402336"/>
            </a:xfrm>
            <a:custGeom>
              <a:avLst/>
              <a:gdLst>
                <a:gd name="connsiteX0" fmla="*/ 143627 w 158948"/>
                <a:gd name="connsiteY0" fmla="*/ 106291 h 172875"/>
                <a:gd name="connsiteX1" fmla="*/ 139960 w 158948"/>
                <a:gd name="connsiteY1" fmla="*/ 104458 h 172875"/>
                <a:gd name="connsiteX2" fmla="*/ 127736 w 158948"/>
                <a:gd name="connsiteY2" fmla="*/ 99571 h 172875"/>
                <a:gd name="connsiteX3" fmla="*/ 127736 w 158948"/>
                <a:gd name="connsiteY3" fmla="*/ 99571 h 172875"/>
                <a:gd name="connsiteX4" fmla="*/ 124680 w 158948"/>
                <a:gd name="connsiteY4" fmla="*/ 98350 h 172875"/>
                <a:gd name="connsiteX5" fmla="*/ 116735 w 158948"/>
                <a:gd name="connsiteY5" fmla="*/ 95906 h 172875"/>
                <a:gd name="connsiteX6" fmla="*/ 106956 w 158948"/>
                <a:gd name="connsiteY6" fmla="*/ 93463 h 172875"/>
                <a:gd name="connsiteX7" fmla="*/ 101456 w 158948"/>
                <a:gd name="connsiteY7" fmla="*/ 83689 h 172875"/>
                <a:gd name="connsiteX8" fmla="*/ 124069 w 158948"/>
                <a:gd name="connsiteY8" fmla="*/ 44593 h 172875"/>
                <a:gd name="connsiteX9" fmla="*/ 79453 w 158948"/>
                <a:gd name="connsiteY9" fmla="*/ 0 h 172875"/>
                <a:gd name="connsiteX10" fmla="*/ 34837 w 158948"/>
                <a:gd name="connsiteY10" fmla="*/ 44593 h 172875"/>
                <a:gd name="connsiteX11" fmla="*/ 57451 w 158948"/>
                <a:gd name="connsiteY11" fmla="*/ 83689 h 172875"/>
                <a:gd name="connsiteX12" fmla="*/ 51950 w 158948"/>
                <a:gd name="connsiteY12" fmla="*/ 94074 h 172875"/>
                <a:gd name="connsiteX13" fmla="*/ 42171 w 158948"/>
                <a:gd name="connsiteY13" fmla="*/ 95906 h 172875"/>
                <a:gd name="connsiteX14" fmla="*/ 34226 w 158948"/>
                <a:gd name="connsiteY14" fmla="*/ 98350 h 172875"/>
                <a:gd name="connsiteX15" fmla="*/ 28726 w 158948"/>
                <a:gd name="connsiteY15" fmla="*/ 100182 h 172875"/>
                <a:gd name="connsiteX16" fmla="*/ 28726 w 158948"/>
                <a:gd name="connsiteY16" fmla="*/ 100182 h 172875"/>
                <a:gd name="connsiteX17" fmla="*/ 23225 w 158948"/>
                <a:gd name="connsiteY17" fmla="*/ 102626 h 172875"/>
                <a:gd name="connsiteX18" fmla="*/ 23225 w 158948"/>
                <a:gd name="connsiteY18" fmla="*/ 102626 h 172875"/>
                <a:gd name="connsiteX19" fmla="*/ 15891 w 158948"/>
                <a:gd name="connsiteY19" fmla="*/ 106291 h 172875"/>
                <a:gd name="connsiteX20" fmla="*/ 0 w 158948"/>
                <a:gd name="connsiteY20" fmla="*/ 132558 h 172875"/>
                <a:gd name="connsiteX21" fmla="*/ 0 w 158948"/>
                <a:gd name="connsiteY21" fmla="*/ 140499 h 172875"/>
                <a:gd name="connsiteX22" fmla="*/ 10390 w 158948"/>
                <a:gd name="connsiteY22" fmla="*/ 158215 h 172875"/>
                <a:gd name="connsiteX23" fmla="*/ 79453 w 158948"/>
                <a:gd name="connsiteY23" fmla="*/ 172875 h 172875"/>
                <a:gd name="connsiteX24" fmla="*/ 148517 w 158948"/>
                <a:gd name="connsiteY24" fmla="*/ 158215 h 172875"/>
                <a:gd name="connsiteX25" fmla="*/ 158907 w 158948"/>
                <a:gd name="connsiteY25" fmla="*/ 140499 h 172875"/>
                <a:gd name="connsiteX26" fmla="*/ 158907 w 158948"/>
                <a:gd name="connsiteY26" fmla="*/ 132558 h 172875"/>
                <a:gd name="connsiteX27" fmla="*/ 143627 w 158948"/>
                <a:gd name="connsiteY27" fmla="*/ 106291 h 172875"/>
                <a:gd name="connsiteX28" fmla="*/ 40338 w 158948"/>
                <a:gd name="connsiteY28" fmla="*/ 45204 h 172875"/>
                <a:gd name="connsiteX29" fmla="*/ 80064 w 158948"/>
                <a:gd name="connsiteY29" fmla="*/ 5498 h 172875"/>
                <a:gd name="connsiteX30" fmla="*/ 119791 w 158948"/>
                <a:gd name="connsiteY30" fmla="*/ 45204 h 172875"/>
                <a:gd name="connsiteX31" fmla="*/ 80064 w 158948"/>
                <a:gd name="connsiteY31" fmla="*/ 84911 h 172875"/>
                <a:gd name="connsiteX32" fmla="*/ 40338 w 158948"/>
                <a:gd name="connsiteY32" fmla="*/ 45204 h 172875"/>
                <a:gd name="connsiteX33" fmla="*/ 54395 w 158948"/>
                <a:gd name="connsiteY33" fmla="*/ 100182 h 172875"/>
                <a:gd name="connsiteX34" fmla="*/ 54395 w 158948"/>
                <a:gd name="connsiteY34" fmla="*/ 100182 h 172875"/>
                <a:gd name="connsiteX35" fmla="*/ 54395 w 158948"/>
                <a:gd name="connsiteY35" fmla="*/ 100182 h 172875"/>
                <a:gd name="connsiteX36" fmla="*/ 55006 w 158948"/>
                <a:gd name="connsiteY36" fmla="*/ 100182 h 172875"/>
                <a:gd name="connsiteX37" fmla="*/ 55617 w 158948"/>
                <a:gd name="connsiteY37" fmla="*/ 99571 h 172875"/>
                <a:gd name="connsiteX38" fmla="*/ 55617 w 158948"/>
                <a:gd name="connsiteY38" fmla="*/ 99571 h 172875"/>
                <a:gd name="connsiteX39" fmla="*/ 62951 w 158948"/>
                <a:gd name="connsiteY39" fmla="*/ 87354 h 172875"/>
                <a:gd name="connsiteX40" fmla="*/ 79453 w 158948"/>
                <a:gd name="connsiteY40" fmla="*/ 90408 h 172875"/>
                <a:gd name="connsiteX41" fmla="*/ 95955 w 158948"/>
                <a:gd name="connsiteY41" fmla="*/ 87354 h 172875"/>
                <a:gd name="connsiteX42" fmla="*/ 103289 w 158948"/>
                <a:gd name="connsiteY42" fmla="*/ 99571 h 172875"/>
                <a:gd name="connsiteX43" fmla="*/ 103289 w 158948"/>
                <a:gd name="connsiteY43" fmla="*/ 99571 h 172875"/>
                <a:gd name="connsiteX44" fmla="*/ 103901 w 158948"/>
                <a:gd name="connsiteY44" fmla="*/ 100182 h 172875"/>
                <a:gd name="connsiteX45" fmla="*/ 104512 w 158948"/>
                <a:gd name="connsiteY45" fmla="*/ 100182 h 172875"/>
                <a:gd name="connsiteX46" fmla="*/ 104512 w 158948"/>
                <a:gd name="connsiteY46" fmla="*/ 100182 h 172875"/>
                <a:gd name="connsiteX47" fmla="*/ 108179 w 158948"/>
                <a:gd name="connsiteY47" fmla="*/ 100793 h 172875"/>
                <a:gd name="connsiteX48" fmla="*/ 79453 w 158948"/>
                <a:gd name="connsiteY48" fmla="*/ 119730 h 172875"/>
                <a:gd name="connsiteX49" fmla="*/ 50728 w 158948"/>
                <a:gd name="connsiteY49" fmla="*/ 101404 h 172875"/>
                <a:gd name="connsiteX50" fmla="*/ 54395 w 158948"/>
                <a:gd name="connsiteY50" fmla="*/ 100182 h 172875"/>
                <a:gd name="connsiteX51" fmla="*/ 146072 w 158948"/>
                <a:gd name="connsiteY51" fmla="*/ 153939 h 172875"/>
                <a:gd name="connsiteX52" fmla="*/ 79453 w 158948"/>
                <a:gd name="connsiteY52" fmla="*/ 167988 h 172875"/>
                <a:gd name="connsiteX53" fmla="*/ 12835 w 158948"/>
                <a:gd name="connsiteY53" fmla="*/ 153939 h 172875"/>
                <a:gd name="connsiteX54" fmla="*/ 5500 w 158948"/>
                <a:gd name="connsiteY54" fmla="*/ 141110 h 172875"/>
                <a:gd name="connsiteX55" fmla="*/ 5500 w 158948"/>
                <a:gd name="connsiteY55" fmla="*/ 133169 h 172875"/>
                <a:gd name="connsiteX56" fmla="*/ 18335 w 158948"/>
                <a:gd name="connsiteY56" fmla="*/ 111789 h 172875"/>
                <a:gd name="connsiteX57" fmla="*/ 35448 w 158948"/>
                <a:gd name="connsiteY57" fmla="*/ 104458 h 172875"/>
                <a:gd name="connsiteX58" fmla="*/ 43394 w 158948"/>
                <a:gd name="connsiteY58" fmla="*/ 102015 h 172875"/>
                <a:gd name="connsiteX59" fmla="*/ 44616 w 158948"/>
                <a:gd name="connsiteY59" fmla="*/ 102015 h 172875"/>
                <a:gd name="connsiteX60" fmla="*/ 78842 w 158948"/>
                <a:gd name="connsiteY60" fmla="*/ 125228 h 172875"/>
                <a:gd name="connsiteX61" fmla="*/ 113068 w 158948"/>
                <a:gd name="connsiteY61" fmla="*/ 102015 h 172875"/>
                <a:gd name="connsiteX62" fmla="*/ 114291 w 158948"/>
                <a:gd name="connsiteY62" fmla="*/ 102626 h 172875"/>
                <a:gd name="connsiteX63" fmla="*/ 122236 w 158948"/>
                <a:gd name="connsiteY63" fmla="*/ 105069 h 172875"/>
                <a:gd name="connsiteX64" fmla="*/ 139349 w 158948"/>
                <a:gd name="connsiteY64" fmla="*/ 112400 h 172875"/>
                <a:gd name="connsiteX65" fmla="*/ 152184 w 158948"/>
                <a:gd name="connsiteY65" fmla="*/ 133780 h 172875"/>
                <a:gd name="connsiteX66" fmla="*/ 152184 w 158948"/>
                <a:gd name="connsiteY66" fmla="*/ 141721 h 172875"/>
                <a:gd name="connsiteX67" fmla="*/ 146072 w 158948"/>
                <a:gd name="connsiteY67" fmla="*/ 153939 h 172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158948" h="172875">
                  <a:moveTo>
                    <a:pt x="143627" y="106291"/>
                  </a:moveTo>
                  <a:cubicBezTo>
                    <a:pt x="142405" y="105680"/>
                    <a:pt x="141182" y="105069"/>
                    <a:pt x="139960" y="104458"/>
                  </a:cubicBezTo>
                  <a:cubicBezTo>
                    <a:pt x="136904" y="102626"/>
                    <a:pt x="127736" y="99571"/>
                    <a:pt x="127736" y="99571"/>
                  </a:cubicBezTo>
                  <a:lnTo>
                    <a:pt x="127736" y="99571"/>
                  </a:lnTo>
                  <a:cubicBezTo>
                    <a:pt x="126514" y="98961"/>
                    <a:pt x="125903" y="98961"/>
                    <a:pt x="124680" y="98350"/>
                  </a:cubicBezTo>
                  <a:cubicBezTo>
                    <a:pt x="121625" y="97128"/>
                    <a:pt x="119180" y="96517"/>
                    <a:pt x="116735" y="95906"/>
                  </a:cubicBezTo>
                  <a:cubicBezTo>
                    <a:pt x="113679" y="94684"/>
                    <a:pt x="110012" y="94074"/>
                    <a:pt x="106956" y="93463"/>
                  </a:cubicBezTo>
                  <a:cubicBezTo>
                    <a:pt x="104512" y="91019"/>
                    <a:pt x="102678" y="87354"/>
                    <a:pt x="101456" y="83689"/>
                  </a:cubicBezTo>
                  <a:cubicBezTo>
                    <a:pt x="114902" y="75748"/>
                    <a:pt x="124069" y="61698"/>
                    <a:pt x="124069" y="44593"/>
                  </a:cubicBezTo>
                  <a:cubicBezTo>
                    <a:pt x="124069" y="20159"/>
                    <a:pt x="103901" y="0"/>
                    <a:pt x="79453" y="0"/>
                  </a:cubicBezTo>
                  <a:cubicBezTo>
                    <a:pt x="55006" y="0"/>
                    <a:pt x="34837" y="20159"/>
                    <a:pt x="34837" y="44593"/>
                  </a:cubicBezTo>
                  <a:cubicBezTo>
                    <a:pt x="34837" y="61087"/>
                    <a:pt x="44005" y="75748"/>
                    <a:pt x="57451" y="83689"/>
                  </a:cubicBezTo>
                  <a:cubicBezTo>
                    <a:pt x="56229" y="87354"/>
                    <a:pt x="54395" y="91019"/>
                    <a:pt x="51950" y="94074"/>
                  </a:cubicBezTo>
                  <a:cubicBezTo>
                    <a:pt x="45838" y="95295"/>
                    <a:pt x="42171" y="95906"/>
                    <a:pt x="42171" y="95906"/>
                  </a:cubicBezTo>
                  <a:cubicBezTo>
                    <a:pt x="39727" y="96517"/>
                    <a:pt x="37282" y="97128"/>
                    <a:pt x="34226" y="98350"/>
                  </a:cubicBezTo>
                  <a:cubicBezTo>
                    <a:pt x="32392" y="98961"/>
                    <a:pt x="30559" y="99571"/>
                    <a:pt x="28726" y="100182"/>
                  </a:cubicBezTo>
                  <a:cubicBezTo>
                    <a:pt x="28726" y="100182"/>
                    <a:pt x="28726" y="100182"/>
                    <a:pt x="28726" y="100182"/>
                  </a:cubicBezTo>
                  <a:cubicBezTo>
                    <a:pt x="26892" y="100793"/>
                    <a:pt x="25058" y="102015"/>
                    <a:pt x="23225" y="102626"/>
                  </a:cubicBezTo>
                  <a:cubicBezTo>
                    <a:pt x="23225" y="102626"/>
                    <a:pt x="23225" y="102626"/>
                    <a:pt x="23225" y="102626"/>
                  </a:cubicBezTo>
                  <a:cubicBezTo>
                    <a:pt x="20780" y="103847"/>
                    <a:pt x="18335" y="105069"/>
                    <a:pt x="15891" y="106291"/>
                  </a:cubicBezTo>
                  <a:cubicBezTo>
                    <a:pt x="6112" y="111178"/>
                    <a:pt x="0" y="121563"/>
                    <a:pt x="0" y="132558"/>
                  </a:cubicBezTo>
                  <a:lnTo>
                    <a:pt x="0" y="140499"/>
                  </a:lnTo>
                  <a:cubicBezTo>
                    <a:pt x="0" y="147830"/>
                    <a:pt x="4278" y="154549"/>
                    <a:pt x="10390" y="158215"/>
                  </a:cubicBezTo>
                  <a:cubicBezTo>
                    <a:pt x="22614" y="164934"/>
                    <a:pt x="45227" y="172875"/>
                    <a:pt x="79453" y="172875"/>
                  </a:cubicBezTo>
                  <a:cubicBezTo>
                    <a:pt x="113679" y="172875"/>
                    <a:pt x="136293" y="164934"/>
                    <a:pt x="148517" y="158215"/>
                  </a:cubicBezTo>
                  <a:cubicBezTo>
                    <a:pt x="155239" y="154549"/>
                    <a:pt x="158907" y="147830"/>
                    <a:pt x="158907" y="140499"/>
                  </a:cubicBezTo>
                  <a:lnTo>
                    <a:pt x="158907" y="132558"/>
                  </a:lnTo>
                  <a:cubicBezTo>
                    <a:pt x="159518" y="121563"/>
                    <a:pt x="153406" y="111789"/>
                    <a:pt x="143627" y="106291"/>
                  </a:cubicBezTo>
                  <a:close/>
                  <a:moveTo>
                    <a:pt x="40338" y="45204"/>
                  </a:moveTo>
                  <a:cubicBezTo>
                    <a:pt x="40338" y="23213"/>
                    <a:pt x="58062" y="5498"/>
                    <a:pt x="80064" y="5498"/>
                  </a:cubicBezTo>
                  <a:cubicBezTo>
                    <a:pt x="102067" y="5498"/>
                    <a:pt x="119791" y="23213"/>
                    <a:pt x="119791" y="45204"/>
                  </a:cubicBezTo>
                  <a:cubicBezTo>
                    <a:pt x="119791" y="67195"/>
                    <a:pt x="102067" y="84911"/>
                    <a:pt x="80064" y="84911"/>
                  </a:cubicBezTo>
                  <a:cubicBezTo>
                    <a:pt x="58062" y="84911"/>
                    <a:pt x="40338" y="67195"/>
                    <a:pt x="40338" y="45204"/>
                  </a:cubicBezTo>
                  <a:close/>
                  <a:moveTo>
                    <a:pt x="54395" y="100182"/>
                  </a:moveTo>
                  <a:lnTo>
                    <a:pt x="54395" y="100182"/>
                  </a:lnTo>
                  <a:cubicBezTo>
                    <a:pt x="55006" y="100182"/>
                    <a:pt x="55006" y="100182"/>
                    <a:pt x="54395" y="100182"/>
                  </a:cubicBezTo>
                  <a:cubicBezTo>
                    <a:pt x="55006" y="100182"/>
                    <a:pt x="55006" y="100182"/>
                    <a:pt x="55006" y="100182"/>
                  </a:cubicBezTo>
                  <a:lnTo>
                    <a:pt x="55617" y="99571"/>
                  </a:lnTo>
                  <a:cubicBezTo>
                    <a:pt x="55617" y="99571"/>
                    <a:pt x="55617" y="99571"/>
                    <a:pt x="55617" y="99571"/>
                  </a:cubicBezTo>
                  <a:cubicBezTo>
                    <a:pt x="59285" y="95906"/>
                    <a:pt x="61729" y="91630"/>
                    <a:pt x="62951" y="87354"/>
                  </a:cubicBezTo>
                  <a:cubicBezTo>
                    <a:pt x="67841" y="89187"/>
                    <a:pt x="73342" y="90408"/>
                    <a:pt x="79453" y="90408"/>
                  </a:cubicBezTo>
                  <a:cubicBezTo>
                    <a:pt x="85565" y="90408"/>
                    <a:pt x="91066" y="89187"/>
                    <a:pt x="95955" y="87354"/>
                  </a:cubicBezTo>
                  <a:cubicBezTo>
                    <a:pt x="97177" y="91630"/>
                    <a:pt x="99622" y="95906"/>
                    <a:pt x="103289" y="99571"/>
                  </a:cubicBezTo>
                  <a:cubicBezTo>
                    <a:pt x="103289" y="99571"/>
                    <a:pt x="103289" y="99571"/>
                    <a:pt x="103289" y="99571"/>
                  </a:cubicBezTo>
                  <a:cubicBezTo>
                    <a:pt x="103289" y="99571"/>
                    <a:pt x="103901" y="99571"/>
                    <a:pt x="103901" y="100182"/>
                  </a:cubicBezTo>
                  <a:cubicBezTo>
                    <a:pt x="103901" y="100182"/>
                    <a:pt x="104512" y="100182"/>
                    <a:pt x="104512" y="100182"/>
                  </a:cubicBezTo>
                  <a:cubicBezTo>
                    <a:pt x="104512" y="100182"/>
                    <a:pt x="104512" y="100182"/>
                    <a:pt x="104512" y="100182"/>
                  </a:cubicBezTo>
                  <a:cubicBezTo>
                    <a:pt x="105734" y="100182"/>
                    <a:pt x="106956" y="100793"/>
                    <a:pt x="108179" y="100793"/>
                  </a:cubicBezTo>
                  <a:cubicBezTo>
                    <a:pt x="106956" y="111178"/>
                    <a:pt x="94733" y="119730"/>
                    <a:pt x="79453" y="119730"/>
                  </a:cubicBezTo>
                  <a:cubicBezTo>
                    <a:pt x="64174" y="119730"/>
                    <a:pt x="52561" y="111789"/>
                    <a:pt x="50728" y="101404"/>
                  </a:cubicBezTo>
                  <a:cubicBezTo>
                    <a:pt x="51950" y="100182"/>
                    <a:pt x="53173" y="100182"/>
                    <a:pt x="54395" y="100182"/>
                  </a:cubicBezTo>
                  <a:close/>
                  <a:moveTo>
                    <a:pt x="146072" y="153939"/>
                  </a:moveTo>
                  <a:cubicBezTo>
                    <a:pt x="136293" y="159436"/>
                    <a:pt x="114902" y="167988"/>
                    <a:pt x="79453" y="167988"/>
                  </a:cubicBezTo>
                  <a:cubicBezTo>
                    <a:pt x="44616" y="167988"/>
                    <a:pt x="22614" y="159436"/>
                    <a:pt x="12835" y="153939"/>
                  </a:cubicBezTo>
                  <a:cubicBezTo>
                    <a:pt x="8556" y="151495"/>
                    <a:pt x="5500" y="146608"/>
                    <a:pt x="5500" y="141110"/>
                  </a:cubicBezTo>
                  <a:lnTo>
                    <a:pt x="5500" y="133169"/>
                  </a:lnTo>
                  <a:cubicBezTo>
                    <a:pt x="5500" y="124006"/>
                    <a:pt x="10390" y="116065"/>
                    <a:pt x="18335" y="111789"/>
                  </a:cubicBezTo>
                  <a:cubicBezTo>
                    <a:pt x="23836" y="108734"/>
                    <a:pt x="29948" y="106291"/>
                    <a:pt x="35448" y="104458"/>
                  </a:cubicBezTo>
                  <a:cubicBezTo>
                    <a:pt x="38504" y="103237"/>
                    <a:pt x="40949" y="102626"/>
                    <a:pt x="43394" y="102015"/>
                  </a:cubicBezTo>
                  <a:lnTo>
                    <a:pt x="44616" y="102015"/>
                  </a:lnTo>
                  <a:cubicBezTo>
                    <a:pt x="47061" y="114843"/>
                    <a:pt x="61729" y="125228"/>
                    <a:pt x="78842" y="125228"/>
                  </a:cubicBezTo>
                  <a:cubicBezTo>
                    <a:pt x="95955" y="125228"/>
                    <a:pt x="110623" y="114843"/>
                    <a:pt x="113068" y="102015"/>
                  </a:cubicBezTo>
                  <a:cubicBezTo>
                    <a:pt x="113679" y="102015"/>
                    <a:pt x="113679" y="102015"/>
                    <a:pt x="114291" y="102626"/>
                  </a:cubicBezTo>
                  <a:cubicBezTo>
                    <a:pt x="116735" y="103237"/>
                    <a:pt x="119180" y="103847"/>
                    <a:pt x="122236" y="105069"/>
                  </a:cubicBezTo>
                  <a:cubicBezTo>
                    <a:pt x="128348" y="106902"/>
                    <a:pt x="133848" y="109345"/>
                    <a:pt x="139349" y="112400"/>
                  </a:cubicBezTo>
                  <a:cubicBezTo>
                    <a:pt x="147294" y="116676"/>
                    <a:pt x="152184" y="124617"/>
                    <a:pt x="152184" y="133780"/>
                  </a:cubicBezTo>
                  <a:lnTo>
                    <a:pt x="152184" y="141721"/>
                  </a:lnTo>
                  <a:cubicBezTo>
                    <a:pt x="153406" y="146608"/>
                    <a:pt x="150962" y="150884"/>
                    <a:pt x="146072" y="153939"/>
                  </a:cubicBezTo>
                  <a:close/>
                </a:path>
              </a:pathLst>
            </a:custGeom>
            <a:solidFill>
              <a:srgbClr val="2473B9"/>
            </a:solidFill>
            <a:ln w="61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</p:grpSp>
      <p:grpSp>
        <p:nvGrpSpPr>
          <p:cNvPr id="37" name="Group 36">
            <a:extLst>
              <a:ext uri="{FF2B5EF4-FFF2-40B4-BE49-F238E27FC236}">
                <a16:creationId xmlns:a16="http://schemas.microsoft.com/office/drawing/2014/main" id="{206F824B-B005-8945-BF4A-410CD4F60E8E}"/>
              </a:ext>
            </a:extLst>
          </p:cNvPr>
          <p:cNvGrpSpPr/>
          <p:nvPr/>
        </p:nvGrpSpPr>
        <p:grpSpPr>
          <a:xfrm>
            <a:off x="2770503" y="2767437"/>
            <a:ext cx="853440" cy="853440"/>
            <a:chOff x="4243624" y="656353"/>
            <a:chExt cx="640080" cy="640080"/>
          </a:xfrm>
        </p:grpSpPr>
        <p:sp>
          <p:nvSpPr>
            <p:cNvPr id="38" name="Oval 37">
              <a:extLst>
                <a:ext uri="{FF2B5EF4-FFF2-40B4-BE49-F238E27FC236}">
                  <a16:creationId xmlns:a16="http://schemas.microsoft.com/office/drawing/2014/main" id="{54844F18-4FE9-4F4C-8B43-0DB6B5C596A2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243624" y="656353"/>
              <a:ext cx="640080" cy="64008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39" name="Graphic 11">
              <a:extLst>
                <a:ext uri="{FF2B5EF4-FFF2-40B4-BE49-F238E27FC236}">
                  <a16:creationId xmlns:a16="http://schemas.microsoft.com/office/drawing/2014/main" id="{DD4A2A0B-7C31-D743-91BA-C94EEC2B1270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378703" y="775225"/>
              <a:ext cx="369923" cy="402336"/>
            </a:xfrm>
            <a:custGeom>
              <a:avLst/>
              <a:gdLst>
                <a:gd name="connsiteX0" fmla="*/ 143627 w 158948"/>
                <a:gd name="connsiteY0" fmla="*/ 106291 h 172875"/>
                <a:gd name="connsiteX1" fmla="*/ 139960 w 158948"/>
                <a:gd name="connsiteY1" fmla="*/ 104458 h 172875"/>
                <a:gd name="connsiteX2" fmla="*/ 127736 w 158948"/>
                <a:gd name="connsiteY2" fmla="*/ 99571 h 172875"/>
                <a:gd name="connsiteX3" fmla="*/ 127736 w 158948"/>
                <a:gd name="connsiteY3" fmla="*/ 99571 h 172875"/>
                <a:gd name="connsiteX4" fmla="*/ 124680 w 158948"/>
                <a:gd name="connsiteY4" fmla="*/ 98350 h 172875"/>
                <a:gd name="connsiteX5" fmla="*/ 116735 w 158948"/>
                <a:gd name="connsiteY5" fmla="*/ 95906 h 172875"/>
                <a:gd name="connsiteX6" fmla="*/ 106956 w 158948"/>
                <a:gd name="connsiteY6" fmla="*/ 93463 h 172875"/>
                <a:gd name="connsiteX7" fmla="*/ 101456 w 158948"/>
                <a:gd name="connsiteY7" fmla="*/ 83689 h 172875"/>
                <a:gd name="connsiteX8" fmla="*/ 124069 w 158948"/>
                <a:gd name="connsiteY8" fmla="*/ 44593 h 172875"/>
                <a:gd name="connsiteX9" fmla="*/ 79453 w 158948"/>
                <a:gd name="connsiteY9" fmla="*/ 0 h 172875"/>
                <a:gd name="connsiteX10" fmla="*/ 34837 w 158948"/>
                <a:gd name="connsiteY10" fmla="*/ 44593 h 172875"/>
                <a:gd name="connsiteX11" fmla="*/ 57451 w 158948"/>
                <a:gd name="connsiteY11" fmla="*/ 83689 h 172875"/>
                <a:gd name="connsiteX12" fmla="*/ 51950 w 158948"/>
                <a:gd name="connsiteY12" fmla="*/ 94074 h 172875"/>
                <a:gd name="connsiteX13" fmla="*/ 42171 w 158948"/>
                <a:gd name="connsiteY13" fmla="*/ 95906 h 172875"/>
                <a:gd name="connsiteX14" fmla="*/ 34226 w 158948"/>
                <a:gd name="connsiteY14" fmla="*/ 98350 h 172875"/>
                <a:gd name="connsiteX15" fmla="*/ 28726 w 158948"/>
                <a:gd name="connsiteY15" fmla="*/ 100182 h 172875"/>
                <a:gd name="connsiteX16" fmla="*/ 28726 w 158948"/>
                <a:gd name="connsiteY16" fmla="*/ 100182 h 172875"/>
                <a:gd name="connsiteX17" fmla="*/ 23225 w 158948"/>
                <a:gd name="connsiteY17" fmla="*/ 102626 h 172875"/>
                <a:gd name="connsiteX18" fmla="*/ 23225 w 158948"/>
                <a:gd name="connsiteY18" fmla="*/ 102626 h 172875"/>
                <a:gd name="connsiteX19" fmla="*/ 15891 w 158948"/>
                <a:gd name="connsiteY19" fmla="*/ 106291 h 172875"/>
                <a:gd name="connsiteX20" fmla="*/ 0 w 158948"/>
                <a:gd name="connsiteY20" fmla="*/ 132558 h 172875"/>
                <a:gd name="connsiteX21" fmla="*/ 0 w 158948"/>
                <a:gd name="connsiteY21" fmla="*/ 140499 h 172875"/>
                <a:gd name="connsiteX22" fmla="*/ 10390 w 158948"/>
                <a:gd name="connsiteY22" fmla="*/ 158215 h 172875"/>
                <a:gd name="connsiteX23" fmla="*/ 79453 w 158948"/>
                <a:gd name="connsiteY23" fmla="*/ 172875 h 172875"/>
                <a:gd name="connsiteX24" fmla="*/ 148517 w 158948"/>
                <a:gd name="connsiteY24" fmla="*/ 158215 h 172875"/>
                <a:gd name="connsiteX25" fmla="*/ 158907 w 158948"/>
                <a:gd name="connsiteY25" fmla="*/ 140499 h 172875"/>
                <a:gd name="connsiteX26" fmla="*/ 158907 w 158948"/>
                <a:gd name="connsiteY26" fmla="*/ 132558 h 172875"/>
                <a:gd name="connsiteX27" fmla="*/ 143627 w 158948"/>
                <a:gd name="connsiteY27" fmla="*/ 106291 h 172875"/>
                <a:gd name="connsiteX28" fmla="*/ 40338 w 158948"/>
                <a:gd name="connsiteY28" fmla="*/ 45204 h 172875"/>
                <a:gd name="connsiteX29" fmla="*/ 80064 w 158948"/>
                <a:gd name="connsiteY29" fmla="*/ 5498 h 172875"/>
                <a:gd name="connsiteX30" fmla="*/ 119791 w 158948"/>
                <a:gd name="connsiteY30" fmla="*/ 45204 h 172875"/>
                <a:gd name="connsiteX31" fmla="*/ 80064 w 158948"/>
                <a:gd name="connsiteY31" fmla="*/ 84911 h 172875"/>
                <a:gd name="connsiteX32" fmla="*/ 40338 w 158948"/>
                <a:gd name="connsiteY32" fmla="*/ 45204 h 172875"/>
                <a:gd name="connsiteX33" fmla="*/ 54395 w 158948"/>
                <a:gd name="connsiteY33" fmla="*/ 100182 h 172875"/>
                <a:gd name="connsiteX34" fmla="*/ 54395 w 158948"/>
                <a:gd name="connsiteY34" fmla="*/ 100182 h 172875"/>
                <a:gd name="connsiteX35" fmla="*/ 54395 w 158948"/>
                <a:gd name="connsiteY35" fmla="*/ 100182 h 172875"/>
                <a:gd name="connsiteX36" fmla="*/ 55006 w 158948"/>
                <a:gd name="connsiteY36" fmla="*/ 100182 h 172875"/>
                <a:gd name="connsiteX37" fmla="*/ 55617 w 158948"/>
                <a:gd name="connsiteY37" fmla="*/ 99571 h 172875"/>
                <a:gd name="connsiteX38" fmla="*/ 55617 w 158948"/>
                <a:gd name="connsiteY38" fmla="*/ 99571 h 172875"/>
                <a:gd name="connsiteX39" fmla="*/ 62951 w 158948"/>
                <a:gd name="connsiteY39" fmla="*/ 87354 h 172875"/>
                <a:gd name="connsiteX40" fmla="*/ 79453 w 158948"/>
                <a:gd name="connsiteY40" fmla="*/ 90408 h 172875"/>
                <a:gd name="connsiteX41" fmla="*/ 95955 w 158948"/>
                <a:gd name="connsiteY41" fmla="*/ 87354 h 172875"/>
                <a:gd name="connsiteX42" fmla="*/ 103289 w 158948"/>
                <a:gd name="connsiteY42" fmla="*/ 99571 h 172875"/>
                <a:gd name="connsiteX43" fmla="*/ 103289 w 158948"/>
                <a:gd name="connsiteY43" fmla="*/ 99571 h 172875"/>
                <a:gd name="connsiteX44" fmla="*/ 103901 w 158948"/>
                <a:gd name="connsiteY44" fmla="*/ 100182 h 172875"/>
                <a:gd name="connsiteX45" fmla="*/ 104512 w 158948"/>
                <a:gd name="connsiteY45" fmla="*/ 100182 h 172875"/>
                <a:gd name="connsiteX46" fmla="*/ 104512 w 158948"/>
                <a:gd name="connsiteY46" fmla="*/ 100182 h 172875"/>
                <a:gd name="connsiteX47" fmla="*/ 108179 w 158948"/>
                <a:gd name="connsiteY47" fmla="*/ 100793 h 172875"/>
                <a:gd name="connsiteX48" fmla="*/ 79453 w 158948"/>
                <a:gd name="connsiteY48" fmla="*/ 119730 h 172875"/>
                <a:gd name="connsiteX49" fmla="*/ 50728 w 158948"/>
                <a:gd name="connsiteY49" fmla="*/ 101404 h 172875"/>
                <a:gd name="connsiteX50" fmla="*/ 54395 w 158948"/>
                <a:gd name="connsiteY50" fmla="*/ 100182 h 172875"/>
                <a:gd name="connsiteX51" fmla="*/ 146072 w 158948"/>
                <a:gd name="connsiteY51" fmla="*/ 153939 h 172875"/>
                <a:gd name="connsiteX52" fmla="*/ 79453 w 158948"/>
                <a:gd name="connsiteY52" fmla="*/ 167988 h 172875"/>
                <a:gd name="connsiteX53" fmla="*/ 12835 w 158948"/>
                <a:gd name="connsiteY53" fmla="*/ 153939 h 172875"/>
                <a:gd name="connsiteX54" fmla="*/ 5500 w 158948"/>
                <a:gd name="connsiteY54" fmla="*/ 141110 h 172875"/>
                <a:gd name="connsiteX55" fmla="*/ 5500 w 158948"/>
                <a:gd name="connsiteY55" fmla="*/ 133169 h 172875"/>
                <a:gd name="connsiteX56" fmla="*/ 18335 w 158948"/>
                <a:gd name="connsiteY56" fmla="*/ 111789 h 172875"/>
                <a:gd name="connsiteX57" fmla="*/ 35448 w 158948"/>
                <a:gd name="connsiteY57" fmla="*/ 104458 h 172875"/>
                <a:gd name="connsiteX58" fmla="*/ 43394 w 158948"/>
                <a:gd name="connsiteY58" fmla="*/ 102015 h 172875"/>
                <a:gd name="connsiteX59" fmla="*/ 44616 w 158948"/>
                <a:gd name="connsiteY59" fmla="*/ 102015 h 172875"/>
                <a:gd name="connsiteX60" fmla="*/ 78842 w 158948"/>
                <a:gd name="connsiteY60" fmla="*/ 125228 h 172875"/>
                <a:gd name="connsiteX61" fmla="*/ 113068 w 158948"/>
                <a:gd name="connsiteY61" fmla="*/ 102015 h 172875"/>
                <a:gd name="connsiteX62" fmla="*/ 114291 w 158948"/>
                <a:gd name="connsiteY62" fmla="*/ 102626 h 172875"/>
                <a:gd name="connsiteX63" fmla="*/ 122236 w 158948"/>
                <a:gd name="connsiteY63" fmla="*/ 105069 h 172875"/>
                <a:gd name="connsiteX64" fmla="*/ 139349 w 158948"/>
                <a:gd name="connsiteY64" fmla="*/ 112400 h 172875"/>
                <a:gd name="connsiteX65" fmla="*/ 152184 w 158948"/>
                <a:gd name="connsiteY65" fmla="*/ 133780 h 172875"/>
                <a:gd name="connsiteX66" fmla="*/ 152184 w 158948"/>
                <a:gd name="connsiteY66" fmla="*/ 141721 h 172875"/>
                <a:gd name="connsiteX67" fmla="*/ 146072 w 158948"/>
                <a:gd name="connsiteY67" fmla="*/ 153939 h 172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158948" h="172875">
                  <a:moveTo>
                    <a:pt x="143627" y="106291"/>
                  </a:moveTo>
                  <a:cubicBezTo>
                    <a:pt x="142405" y="105680"/>
                    <a:pt x="141182" y="105069"/>
                    <a:pt x="139960" y="104458"/>
                  </a:cubicBezTo>
                  <a:cubicBezTo>
                    <a:pt x="136904" y="102626"/>
                    <a:pt x="127736" y="99571"/>
                    <a:pt x="127736" y="99571"/>
                  </a:cubicBezTo>
                  <a:lnTo>
                    <a:pt x="127736" y="99571"/>
                  </a:lnTo>
                  <a:cubicBezTo>
                    <a:pt x="126514" y="98961"/>
                    <a:pt x="125903" y="98961"/>
                    <a:pt x="124680" y="98350"/>
                  </a:cubicBezTo>
                  <a:cubicBezTo>
                    <a:pt x="121625" y="97128"/>
                    <a:pt x="119180" y="96517"/>
                    <a:pt x="116735" y="95906"/>
                  </a:cubicBezTo>
                  <a:cubicBezTo>
                    <a:pt x="113679" y="94684"/>
                    <a:pt x="110012" y="94074"/>
                    <a:pt x="106956" y="93463"/>
                  </a:cubicBezTo>
                  <a:cubicBezTo>
                    <a:pt x="104512" y="91019"/>
                    <a:pt x="102678" y="87354"/>
                    <a:pt x="101456" y="83689"/>
                  </a:cubicBezTo>
                  <a:cubicBezTo>
                    <a:pt x="114902" y="75748"/>
                    <a:pt x="124069" y="61698"/>
                    <a:pt x="124069" y="44593"/>
                  </a:cubicBezTo>
                  <a:cubicBezTo>
                    <a:pt x="124069" y="20159"/>
                    <a:pt x="103901" y="0"/>
                    <a:pt x="79453" y="0"/>
                  </a:cubicBezTo>
                  <a:cubicBezTo>
                    <a:pt x="55006" y="0"/>
                    <a:pt x="34837" y="20159"/>
                    <a:pt x="34837" y="44593"/>
                  </a:cubicBezTo>
                  <a:cubicBezTo>
                    <a:pt x="34837" y="61087"/>
                    <a:pt x="44005" y="75748"/>
                    <a:pt x="57451" y="83689"/>
                  </a:cubicBezTo>
                  <a:cubicBezTo>
                    <a:pt x="56229" y="87354"/>
                    <a:pt x="54395" y="91019"/>
                    <a:pt x="51950" y="94074"/>
                  </a:cubicBezTo>
                  <a:cubicBezTo>
                    <a:pt x="45838" y="95295"/>
                    <a:pt x="42171" y="95906"/>
                    <a:pt x="42171" y="95906"/>
                  </a:cubicBezTo>
                  <a:cubicBezTo>
                    <a:pt x="39727" y="96517"/>
                    <a:pt x="37282" y="97128"/>
                    <a:pt x="34226" y="98350"/>
                  </a:cubicBezTo>
                  <a:cubicBezTo>
                    <a:pt x="32392" y="98961"/>
                    <a:pt x="30559" y="99571"/>
                    <a:pt x="28726" y="100182"/>
                  </a:cubicBezTo>
                  <a:cubicBezTo>
                    <a:pt x="28726" y="100182"/>
                    <a:pt x="28726" y="100182"/>
                    <a:pt x="28726" y="100182"/>
                  </a:cubicBezTo>
                  <a:cubicBezTo>
                    <a:pt x="26892" y="100793"/>
                    <a:pt x="25058" y="102015"/>
                    <a:pt x="23225" y="102626"/>
                  </a:cubicBezTo>
                  <a:cubicBezTo>
                    <a:pt x="23225" y="102626"/>
                    <a:pt x="23225" y="102626"/>
                    <a:pt x="23225" y="102626"/>
                  </a:cubicBezTo>
                  <a:cubicBezTo>
                    <a:pt x="20780" y="103847"/>
                    <a:pt x="18335" y="105069"/>
                    <a:pt x="15891" y="106291"/>
                  </a:cubicBezTo>
                  <a:cubicBezTo>
                    <a:pt x="6112" y="111178"/>
                    <a:pt x="0" y="121563"/>
                    <a:pt x="0" y="132558"/>
                  </a:cubicBezTo>
                  <a:lnTo>
                    <a:pt x="0" y="140499"/>
                  </a:lnTo>
                  <a:cubicBezTo>
                    <a:pt x="0" y="147830"/>
                    <a:pt x="4278" y="154549"/>
                    <a:pt x="10390" y="158215"/>
                  </a:cubicBezTo>
                  <a:cubicBezTo>
                    <a:pt x="22614" y="164934"/>
                    <a:pt x="45227" y="172875"/>
                    <a:pt x="79453" y="172875"/>
                  </a:cubicBezTo>
                  <a:cubicBezTo>
                    <a:pt x="113679" y="172875"/>
                    <a:pt x="136293" y="164934"/>
                    <a:pt x="148517" y="158215"/>
                  </a:cubicBezTo>
                  <a:cubicBezTo>
                    <a:pt x="155239" y="154549"/>
                    <a:pt x="158907" y="147830"/>
                    <a:pt x="158907" y="140499"/>
                  </a:cubicBezTo>
                  <a:lnTo>
                    <a:pt x="158907" y="132558"/>
                  </a:lnTo>
                  <a:cubicBezTo>
                    <a:pt x="159518" y="121563"/>
                    <a:pt x="153406" y="111789"/>
                    <a:pt x="143627" y="106291"/>
                  </a:cubicBezTo>
                  <a:close/>
                  <a:moveTo>
                    <a:pt x="40338" y="45204"/>
                  </a:moveTo>
                  <a:cubicBezTo>
                    <a:pt x="40338" y="23213"/>
                    <a:pt x="58062" y="5498"/>
                    <a:pt x="80064" y="5498"/>
                  </a:cubicBezTo>
                  <a:cubicBezTo>
                    <a:pt x="102067" y="5498"/>
                    <a:pt x="119791" y="23213"/>
                    <a:pt x="119791" y="45204"/>
                  </a:cubicBezTo>
                  <a:cubicBezTo>
                    <a:pt x="119791" y="67195"/>
                    <a:pt x="102067" y="84911"/>
                    <a:pt x="80064" y="84911"/>
                  </a:cubicBezTo>
                  <a:cubicBezTo>
                    <a:pt x="58062" y="84911"/>
                    <a:pt x="40338" y="67195"/>
                    <a:pt x="40338" y="45204"/>
                  </a:cubicBezTo>
                  <a:close/>
                  <a:moveTo>
                    <a:pt x="54395" y="100182"/>
                  </a:moveTo>
                  <a:lnTo>
                    <a:pt x="54395" y="100182"/>
                  </a:lnTo>
                  <a:cubicBezTo>
                    <a:pt x="55006" y="100182"/>
                    <a:pt x="55006" y="100182"/>
                    <a:pt x="54395" y="100182"/>
                  </a:cubicBezTo>
                  <a:cubicBezTo>
                    <a:pt x="55006" y="100182"/>
                    <a:pt x="55006" y="100182"/>
                    <a:pt x="55006" y="100182"/>
                  </a:cubicBezTo>
                  <a:lnTo>
                    <a:pt x="55617" y="99571"/>
                  </a:lnTo>
                  <a:cubicBezTo>
                    <a:pt x="55617" y="99571"/>
                    <a:pt x="55617" y="99571"/>
                    <a:pt x="55617" y="99571"/>
                  </a:cubicBezTo>
                  <a:cubicBezTo>
                    <a:pt x="59285" y="95906"/>
                    <a:pt x="61729" y="91630"/>
                    <a:pt x="62951" y="87354"/>
                  </a:cubicBezTo>
                  <a:cubicBezTo>
                    <a:pt x="67841" y="89187"/>
                    <a:pt x="73342" y="90408"/>
                    <a:pt x="79453" y="90408"/>
                  </a:cubicBezTo>
                  <a:cubicBezTo>
                    <a:pt x="85565" y="90408"/>
                    <a:pt x="91066" y="89187"/>
                    <a:pt x="95955" y="87354"/>
                  </a:cubicBezTo>
                  <a:cubicBezTo>
                    <a:pt x="97177" y="91630"/>
                    <a:pt x="99622" y="95906"/>
                    <a:pt x="103289" y="99571"/>
                  </a:cubicBezTo>
                  <a:cubicBezTo>
                    <a:pt x="103289" y="99571"/>
                    <a:pt x="103289" y="99571"/>
                    <a:pt x="103289" y="99571"/>
                  </a:cubicBezTo>
                  <a:cubicBezTo>
                    <a:pt x="103289" y="99571"/>
                    <a:pt x="103901" y="99571"/>
                    <a:pt x="103901" y="100182"/>
                  </a:cubicBezTo>
                  <a:cubicBezTo>
                    <a:pt x="103901" y="100182"/>
                    <a:pt x="104512" y="100182"/>
                    <a:pt x="104512" y="100182"/>
                  </a:cubicBezTo>
                  <a:cubicBezTo>
                    <a:pt x="104512" y="100182"/>
                    <a:pt x="104512" y="100182"/>
                    <a:pt x="104512" y="100182"/>
                  </a:cubicBezTo>
                  <a:cubicBezTo>
                    <a:pt x="105734" y="100182"/>
                    <a:pt x="106956" y="100793"/>
                    <a:pt x="108179" y="100793"/>
                  </a:cubicBezTo>
                  <a:cubicBezTo>
                    <a:pt x="106956" y="111178"/>
                    <a:pt x="94733" y="119730"/>
                    <a:pt x="79453" y="119730"/>
                  </a:cubicBezTo>
                  <a:cubicBezTo>
                    <a:pt x="64174" y="119730"/>
                    <a:pt x="52561" y="111789"/>
                    <a:pt x="50728" y="101404"/>
                  </a:cubicBezTo>
                  <a:cubicBezTo>
                    <a:pt x="51950" y="100182"/>
                    <a:pt x="53173" y="100182"/>
                    <a:pt x="54395" y="100182"/>
                  </a:cubicBezTo>
                  <a:close/>
                  <a:moveTo>
                    <a:pt x="146072" y="153939"/>
                  </a:moveTo>
                  <a:cubicBezTo>
                    <a:pt x="136293" y="159436"/>
                    <a:pt x="114902" y="167988"/>
                    <a:pt x="79453" y="167988"/>
                  </a:cubicBezTo>
                  <a:cubicBezTo>
                    <a:pt x="44616" y="167988"/>
                    <a:pt x="22614" y="159436"/>
                    <a:pt x="12835" y="153939"/>
                  </a:cubicBezTo>
                  <a:cubicBezTo>
                    <a:pt x="8556" y="151495"/>
                    <a:pt x="5500" y="146608"/>
                    <a:pt x="5500" y="141110"/>
                  </a:cubicBezTo>
                  <a:lnTo>
                    <a:pt x="5500" y="133169"/>
                  </a:lnTo>
                  <a:cubicBezTo>
                    <a:pt x="5500" y="124006"/>
                    <a:pt x="10390" y="116065"/>
                    <a:pt x="18335" y="111789"/>
                  </a:cubicBezTo>
                  <a:cubicBezTo>
                    <a:pt x="23836" y="108734"/>
                    <a:pt x="29948" y="106291"/>
                    <a:pt x="35448" y="104458"/>
                  </a:cubicBezTo>
                  <a:cubicBezTo>
                    <a:pt x="38504" y="103237"/>
                    <a:pt x="40949" y="102626"/>
                    <a:pt x="43394" y="102015"/>
                  </a:cubicBezTo>
                  <a:lnTo>
                    <a:pt x="44616" y="102015"/>
                  </a:lnTo>
                  <a:cubicBezTo>
                    <a:pt x="47061" y="114843"/>
                    <a:pt x="61729" y="125228"/>
                    <a:pt x="78842" y="125228"/>
                  </a:cubicBezTo>
                  <a:cubicBezTo>
                    <a:pt x="95955" y="125228"/>
                    <a:pt x="110623" y="114843"/>
                    <a:pt x="113068" y="102015"/>
                  </a:cubicBezTo>
                  <a:cubicBezTo>
                    <a:pt x="113679" y="102015"/>
                    <a:pt x="113679" y="102015"/>
                    <a:pt x="114291" y="102626"/>
                  </a:cubicBezTo>
                  <a:cubicBezTo>
                    <a:pt x="116735" y="103237"/>
                    <a:pt x="119180" y="103847"/>
                    <a:pt x="122236" y="105069"/>
                  </a:cubicBezTo>
                  <a:cubicBezTo>
                    <a:pt x="128348" y="106902"/>
                    <a:pt x="133848" y="109345"/>
                    <a:pt x="139349" y="112400"/>
                  </a:cubicBezTo>
                  <a:cubicBezTo>
                    <a:pt x="147294" y="116676"/>
                    <a:pt x="152184" y="124617"/>
                    <a:pt x="152184" y="133780"/>
                  </a:cubicBezTo>
                  <a:lnTo>
                    <a:pt x="152184" y="141721"/>
                  </a:lnTo>
                  <a:cubicBezTo>
                    <a:pt x="153406" y="146608"/>
                    <a:pt x="150962" y="150884"/>
                    <a:pt x="146072" y="153939"/>
                  </a:cubicBezTo>
                  <a:close/>
                </a:path>
              </a:pathLst>
            </a:custGeom>
            <a:solidFill>
              <a:srgbClr val="2473B9"/>
            </a:solidFill>
            <a:ln w="61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</p:grpSp>
      <p:grpSp>
        <p:nvGrpSpPr>
          <p:cNvPr id="40" name="Group 39">
            <a:extLst>
              <a:ext uri="{FF2B5EF4-FFF2-40B4-BE49-F238E27FC236}">
                <a16:creationId xmlns:a16="http://schemas.microsoft.com/office/drawing/2014/main" id="{EF104728-DD53-504A-ADF1-0E0BF63C776B}"/>
              </a:ext>
            </a:extLst>
          </p:cNvPr>
          <p:cNvGrpSpPr/>
          <p:nvPr/>
        </p:nvGrpSpPr>
        <p:grpSpPr>
          <a:xfrm>
            <a:off x="10466708" y="2767437"/>
            <a:ext cx="853440" cy="853440"/>
            <a:chOff x="4243624" y="656353"/>
            <a:chExt cx="640080" cy="640080"/>
          </a:xfrm>
        </p:grpSpPr>
        <p:sp>
          <p:nvSpPr>
            <p:cNvPr id="41" name="Oval 40">
              <a:extLst>
                <a:ext uri="{FF2B5EF4-FFF2-40B4-BE49-F238E27FC236}">
                  <a16:creationId xmlns:a16="http://schemas.microsoft.com/office/drawing/2014/main" id="{3829B63E-E612-C945-9B6D-A70BEE2BE860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243624" y="656353"/>
              <a:ext cx="640080" cy="64008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42" name="Graphic 11">
              <a:extLst>
                <a:ext uri="{FF2B5EF4-FFF2-40B4-BE49-F238E27FC236}">
                  <a16:creationId xmlns:a16="http://schemas.microsoft.com/office/drawing/2014/main" id="{C47D23E7-A14E-474F-8E6D-5B0D65289C9F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378703" y="775225"/>
              <a:ext cx="369923" cy="402336"/>
            </a:xfrm>
            <a:custGeom>
              <a:avLst/>
              <a:gdLst>
                <a:gd name="connsiteX0" fmla="*/ 143627 w 158948"/>
                <a:gd name="connsiteY0" fmla="*/ 106291 h 172875"/>
                <a:gd name="connsiteX1" fmla="*/ 139960 w 158948"/>
                <a:gd name="connsiteY1" fmla="*/ 104458 h 172875"/>
                <a:gd name="connsiteX2" fmla="*/ 127736 w 158948"/>
                <a:gd name="connsiteY2" fmla="*/ 99571 h 172875"/>
                <a:gd name="connsiteX3" fmla="*/ 127736 w 158948"/>
                <a:gd name="connsiteY3" fmla="*/ 99571 h 172875"/>
                <a:gd name="connsiteX4" fmla="*/ 124680 w 158948"/>
                <a:gd name="connsiteY4" fmla="*/ 98350 h 172875"/>
                <a:gd name="connsiteX5" fmla="*/ 116735 w 158948"/>
                <a:gd name="connsiteY5" fmla="*/ 95906 h 172875"/>
                <a:gd name="connsiteX6" fmla="*/ 106956 w 158948"/>
                <a:gd name="connsiteY6" fmla="*/ 93463 h 172875"/>
                <a:gd name="connsiteX7" fmla="*/ 101456 w 158948"/>
                <a:gd name="connsiteY7" fmla="*/ 83689 h 172875"/>
                <a:gd name="connsiteX8" fmla="*/ 124069 w 158948"/>
                <a:gd name="connsiteY8" fmla="*/ 44593 h 172875"/>
                <a:gd name="connsiteX9" fmla="*/ 79453 w 158948"/>
                <a:gd name="connsiteY9" fmla="*/ 0 h 172875"/>
                <a:gd name="connsiteX10" fmla="*/ 34837 w 158948"/>
                <a:gd name="connsiteY10" fmla="*/ 44593 h 172875"/>
                <a:gd name="connsiteX11" fmla="*/ 57451 w 158948"/>
                <a:gd name="connsiteY11" fmla="*/ 83689 h 172875"/>
                <a:gd name="connsiteX12" fmla="*/ 51950 w 158948"/>
                <a:gd name="connsiteY12" fmla="*/ 94074 h 172875"/>
                <a:gd name="connsiteX13" fmla="*/ 42171 w 158948"/>
                <a:gd name="connsiteY13" fmla="*/ 95906 h 172875"/>
                <a:gd name="connsiteX14" fmla="*/ 34226 w 158948"/>
                <a:gd name="connsiteY14" fmla="*/ 98350 h 172875"/>
                <a:gd name="connsiteX15" fmla="*/ 28726 w 158948"/>
                <a:gd name="connsiteY15" fmla="*/ 100182 h 172875"/>
                <a:gd name="connsiteX16" fmla="*/ 28726 w 158948"/>
                <a:gd name="connsiteY16" fmla="*/ 100182 h 172875"/>
                <a:gd name="connsiteX17" fmla="*/ 23225 w 158948"/>
                <a:gd name="connsiteY17" fmla="*/ 102626 h 172875"/>
                <a:gd name="connsiteX18" fmla="*/ 23225 w 158948"/>
                <a:gd name="connsiteY18" fmla="*/ 102626 h 172875"/>
                <a:gd name="connsiteX19" fmla="*/ 15891 w 158948"/>
                <a:gd name="connsiteY19" fmla="*/ 106291 h 172875"/>
                <a:gd name="connsiteX20" fmla="*/ 0 w 158948"/>
                <a:gd name="connsiteY20" fmla="*/ 132558 h 172875"/>
                <a:gd name="connsiteX21" fmla="*/ 0 w 158948"/>
                <a:gd name="connsiteY21" fmla="*/ 140499 h 172875"/>
                <a:gd name="connsiteX22" fmla="*/ 10390 w 158948"/>
                <a:gd name="connsiteY22" fmla="*/ 158215 h 172875"/>
                <a:gd name="connsiteX23" fmla="*/ 79453 w 158948"/>
                <a:gd name="connsiteY23" fmla="*/ 172875 h 172875"/>
                <a:gd name="connsiteX24" fmla="*/ 148517 w 158948"/>
                <a:gd name="connsiteY24" fmla="*/ 158215 h 172875"/>
                <a:gd name="connsiteX25" fmla="*/ 158907 w 158948"/>
                <a:gd name="connsiteY25" fmla="*/ 140499 h 172875"/>
                <a:gd name="connsiteX26" fmla="*/ 158907 w 158948"/>
                <a:gd name="connsiteY26" fmla="*/ 132558 h 172875"/>
                <a:gd name="connsiteX27" fmla="*/ 143627 w 158948"/>
                <a:gd name="connsiteY27" fmla="*/ 106291 h 172875"/>
                <a:gd name="connsiteX28" fmla="*/ 40338 w 158948"/>
                <a:gd name="connsiteY28" fmla="*/ 45204 h 172875"/>
                <a:gd name="connsiteX29" fmla="*/ 80064 w 158948"/>
                <a:gd name="connsiteY29" fmla="*/ 5498 h 172875"/>
                <a:gd name="connsiteX30" fmla="*/ 119791 w 158948"/>
                <a:gd name="connsiteY30" fmla="*/ 45204 h 172875"/>
                <a:gd name="connsiteX31" fmla="*/ 80064 w 158948"/>
                <a:gd name="connsiteY31" fmla="*/ 84911 h 172875"/>
                <a:gd name="connsiteX32" fmla="*/ 40338 w 158948"/>
                <a:gd name="connsiteY32" fmla="*/ 45204 h 172875"/>
                <a:gd name="connsiteX33" fmla="*/ 54395 w 158948"/>
                <a:gd name="connsiteY33" fmla="*/ 100182 h 172875"/>
                <a:gd name="connsiteX34" fmla="*/ 54395 w 158948"/>
                <a:gd name="connsiteY34" fmla="*/ 100182 h 172875"/>
                <a:gd name="connsiteX35" fmla="*/ 54395 w 158948"/>
                <a:gd name="connsiteY35" fmla="*/ 100182 h 172875"/>
                <a:gd name="connsiteX36" fmla="*/ 55006 w 158948"/>
                <a:gd name="connsiteY36" fmla="*/ 100182 h 172875"/>
                <a:gd name="connsiteX37" fmla="*/ 55617 w 158948"/>
                <a:gd name="connsiteY37" fmla="*/ 99571 h 172875"/>
                <a:gd name="connsiteX38" fmla="*/ 55617 w 158948"/>
                <a:gd name="connsiteY38" fmla="*/ 99571 h 172875"/>
                <a:gd name="connsiteX39" fmla="*/ 62951 w 158948"/>
                <a:gd name="connsiteY39" fmla="*/ 87354 h 172875"/>
                <a:gd name="connsiteX40" fmla="*/ 79453 w 158948"/>
                <a:gd name="connsiteY40" fmla="*/ 90408 h 172875"/>
                <a:gd name="connsiteX41" fmla="*/ 95955 w 158948"/>
                <a:gd name="connsiteY41" fmla="*/ 87354 h 172875"/>
                <a:gd name="connsiteX42" fmla="*/ 103289 w 158948"/>
                <a:gd name="connsiteY42" fmla="*/ 99571 h 172875"/>
                <a:gd name="connsiteX43" fmla="*/ 103289 w 158948"/>
                <a:gd name="connsiteY43" fmla="*/ 99571 h 172875"/>
                <a:gd name="connsiteX44" fmla="*/ 103901 w 158948"/>
                <a:gd name="connsiteY44" fmla="*/ 100182 h 172875"/>
                <a:gd name="connsiteX45" fmla="*/ 104512 w 158948"/>
                <a:gd name="connsiteY45" fmla="*/ 100182 h 172875"/>
                <a:gd name="connsiteX46" fmla="*/ 104512 w 158948"/>
                <a:gd name="connsiteY46" fmla="*/ 100182 h 172875"/>
                <a:gd name="connsiteX47" fmla="*/ 108179 w 158948"/>
                <a:gd name="connsiteY47" fmla="*/ 100793 h 172875"/>
                <a:gd name="connsiteX48" fmla="*/ 79453 w 158948"/>
                <a:gd name="connsiteY48" fmla="*/ 119730 h 172875"/>
                <a:gd name="connsiteX49" fmla="*/ 50728 w 158948"/>
                <a:gd name="connsiteY49" fmla="*/ 101404 h 172875"/>
                <a:gd name="connsiteX50" fmla="*/ 54395 w 158948"/>
                <a:gd name="connsiteY50" fmla="*/ 100182 h 172875"/>
                <a:gd name="connsiteX51" fmla="*/ 146072 w 158948"/>
                <a:gd name="connsiteY51" fmla="*/ 153939 h 172875"/>
                <a:gd name="connsiteX52" fmla="*/ 79453 w 158948"/>
                <a:gd name="connsiteY52" fmla="*/ 167988 h 172875"/>
                <a:gd name="connsiteX53" fmla="*/ 12835 w 158948"/>
                <a:gd name="connsiteY53" fmla="*/ 153939 h 172875"/>
                <a:gd name="connsiteX54" fmla="*/ 5500 w 158948"/>
                <a:gd name="connsiteY54" fmla="*/ 141110 h 172875"/>
                <a:gd name="connsiteX55" fmla="*/ 5500 w 158948"/>
                <a:gd name="connsiteY55" fmla="*/ 133169 h 172875"/>
                <a:gd name="connsiteX56" fmla="*/ 18335 w 158948"/>
                <a:gd name="connsiteY56" fmla="*/ 111789 h 172875"/>
                <a:gd name="connsiteX57" fmla="*/ 35448 w 158948"/>
                <a:gd name="connsiteY57" fmla="*/ 104458 h 172875"/>
                <a:gd name="connsiteX58" fmla="*/ 43394 w 158948"/>
                <a:gd name="connsiteY58" fmla="*/ 102015 h 172875"/>
                <a:gd name="connsiteX59" fmla="*/ 44616 w 158948"/>
                <a:gd name="connsiteY59" fmla="*/ 102015 h 172875"/>
                <a:gd name="connsiteX60" fmla="*/ 78842 w 158948"/>
                <a:gd name="connsiteY60" fmla="*/ 125228 h 172875"/>
                <a:gd name="connsiteX61" fmla="*/ 113068 w 158948"/>
                <a:gd name="connsiteY61" fmla="*/ 102015 h 172875"/>
                <a:gd name="connsiteX62" fmla="*/ 114291 w 158948"/>
                <a:gd name="connsiteY62" fmla="*/ 102626 h 172875"/>
                <a:gd name="connsiteX63" fmla="*/ 122236 w 158948"/>
                <a:gd name="connsiteY63" fmla="*/ 105069 h 172875"/>
                <a:gd name="connsiteX64" fmla="*/ 139349 w 158948"/>
                <a:gd name="connsiteY64" fmla="*/ 112400 h 172875"/>
                <a:gd name="connsiteX65" fmla="*/ 152184 w 158948"/>
                <a:gd name="connsiteY65" fmla="*/ 133780 h 172875"/>
                <a:gd name="connsiteX66" fmla="*/ 152184 w 158948"/>
                <a:gd name="connsiteY66" fmla="*/ 141721 h 172875"/>
                <a:gd name="connsiteX67" fmla="*/ 146072 w 158948"/>
                <a:gd name="connsiteY67" fmla="*/ 153939 h 172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158948" h="172875">
                  <a:moveTo>
                    <a:pt x="143627" y="106291"/>
                  </a:moveTo>
                  <a:cubicBezTo>
                    <a:pt x="142405" y="105680"/>
                    <a:pt x="141182" y="105069"/>
                    <a:pt x="139960" y="104458"/>
                  </a:cubicBezTo>
                  <a:cubicBezTo>
                    <a:pt x="136904" y="102626"/>
                    <a:pt x="127736" y="99571"/>
                    <a:pt x="127736" y="99571"/>
                  </a:cubicBezTo>
                  <a:lnTo>
                    <a:pt x="127736" y="99571"/>
                  </a:lnTo>
                  <a:cubicBezTo>
                    <a:pt x="126514" y="98961"/>
                    <a:pt x="125903" y="98961"/>
                    <a:pt x="124680" y="98350"/>
                  </a:cubicBezTo>
                  <a:cubicBezTo>
                    <a:pt x="121625" y="97128"/>
                    <a:pt x="119180" y="96517"/>
                    <a:pt x="116735" y="95906"/>
                  </a:cubicBezTo>
                  <a:cubicBezTo>
                    <a:pt x="113679" y="94684"/>
                    <a:pt x="110012" y="94074"/>
                    <a:pt x="106956" y="93463"/>
                  </a:cubicBezTo>
                  <a:cubicBezTo>
                    <a:pt x="104512" y="91019"/>
                    <a:pt x="102678" y="87354"/>
                    <a:pt x="101456" y="83689"/>
                  </a:cubicBezTo>
                  <a:cubicBezTo>
                    <a:pt x="114902" y="75748"/>
                    <a:pt x="124069" y="61698"/>
                    <a:pt x="124069" y="44593"/>
                  </a:cubicBezTo>
                  <a:cubicBezTo>
                    <a:pt x="124069" y="20159"/>
                    <a:pt x="103901" y="0"/>
                    <a:pt x="79453" y="0"/>
                  </a:cubicBezTo>
                  <a:cubicBezTo>
                    <a:pt x="55006" y="0"/>
                    <a:pt x="34837" y="20159"/>
                    <a:pt x="34837" y="44593"/>
                  </a:cubicBezTo>
                  <a:cubicBezTo>
                    <a:pt x="34837" y="61087"/>
                    <a:pt x="44005" y="75748"/>
                    <a:pt x="57451" y="83689"/>
                  </a:cubicBezTo>
                  <a:cubicBezTo>
                    <a:pt x="56229" y="87354"/>
                    <a:pt x="54395" y="91019"/>
                    <a:pt x="51950" y="94074"/>
                  </a:cubicBezTo>
                  <a:cubicBezTo>
                    <a:pt x="45838" y="95295"/>
                    <a:pt x="42171" y="95906"/>
                    <a:pt x="42171" y="95906"/>
                  </a:cubicBezTo>
                  <a:cubicBezTo>
                    <a:pt x="39727" y="96517"/>
                    <a:pt x="37282" y="97128"/>
                    <a:pt x="34226" y="98350"/>
                  </a:cubicBezTo>
                  <a:cubicBezTo>
                    <a:pt x="32392" y="98961"/>
                    <a:pt x="30559" y="99571"/>
                    <a:pt x="28726" y="100182"/>
                  </a:cubicBezTo>
                  <a:cubicBezTo>
                    <a:pt x="28726" y="100182"/>
                    <a:pt x="28726" y="100182"/>
                    <a:pt x="28726" y="100182"/>
                  </a:cubicBezTo>
                  <a:cubicBezTo>
                    <a:pt x="26892" y="100793"/>
                    <a:pt x="25058" y="102015"/>
                    <a:pt x="23225" y="102626"/>
                  </a:cubicBezTo>
                  <a:cubicBezTo>
                    <a:pt x="23225" y="102626"/>
                    <a:pt x="23225" y="102626"/>
                    <a:pt x="23225" y="102626"/>
                  </a:cubicBezTo>
                  <a:cubicBezTo>
                    <a:pt x="20780" y="103847"/>
                    <a:pt x="18335" y="105069"/>
                    <a:pt x="15891" y="106291"/>
                  </a:cubicBezTo>
                  <a:cubicBezTo>
                    <a:pt x="6112" y="111178"/>
                    <a:pt x="0" y="121563"/>
                    <a:pt x="0" y="132558"/>
                  </a:cubicBezTo>
                  <a:lnTo>
                    <a:pt x="0" y="140499"/>
                  </a:lnTo>
                  <a:cubicBezTo>
                    <a:pt x="0" y="147830"/>
                    <a:pt x="4278" y="154549"/>
                    <a:pt x="10390" y="158215"/>
                  </a:cubicBezTo>
                  <a:cubicBezTo>
                    <a:pt x="22614" y="164934"/>
                    <a:pt x="45227" y="172875"/>
                    <a:pt x="79453" y="172875"/>
                  </a:cubicBezTo>
                  <a:cubicBezTo>
                    <a:pt x="113679" y="172875"/>
                    <a:pt x="136293" y="164934"/>
                    <a:pt x="148517" y="158215"/>
                  </a:cubicBezTo>
                  <a:cubicBezTo>
                    <a:pt x="155239" y="154549"/>
                    <a:pt x="158907" y="147830"/>
                    <a:pt x="158907" y="140499"/>
                  </a:cubicBezTo>
                  <a:lnTo>
                    <a:pt x="158907" y="132558"/>
                  </a:lnTo>
                  <a:cubicBezTo>
                    <a:pt x="159518" y="121563"/>
                    <a:pt x="153406" y="111789"/>
                    <a:pt x="143627" y="106291"/>
                  </a:cubicBezTo>
                  <a:close/>
                  <a:moveTo>
                    <a:pt x="40338" y="45204"/>
                  </a:moveTo>
                  <a:cubicBezTo>
                    <a:pt x="40338" y="23213"/>
                    <a:pt x="58062" y="5498"/>
                    <a:pt x="80064" y="5498"/>
                  </a:cubicBezTo>
                  <a:cubicBezTo>
                    <a:pt x="102067" y="5498"/>
                    <a:pt x="119791" y="23213"/>
                    <a:pt x="119791" y="45204"/>
                  </a:cubicBezTo>
                  <a:cubicBezTo>
                    <a:pt x="119791" y="67195"/>
                    <a:pt x="102067" y="84911"/>
                    <a:pt x="80064" y="84911"/>
                  </a:cubicBezTo>
                  <a:cubicBezTo>
                    <a:pt x="58062" y="84911"/>
                    <a:pt x="40338" y="67195"/>
                    <a:pt x="40338" y="45204"/>
                  </a:cubicBezTo>
                  <a:close/>
                  <a:moveTo>
                    <a:pt x="54395" y="100182"/>
                  </a:moveTo>
                  <a:lnTo>
                    <a:pt x="54395" y="100182"/>
                  </a:lnTo>
                  <a:cubicBezTo>
                    <a:pt x="55006" y="100182"/>
                    <a:pt x="55006" y="100182"/>
                    <a:pt x="54395" y="100182"/>
                  </a:cubicBezTo>
                  <a:cubicBezTo>
                    <a:pt x="55006" y="100182"/>
                    <a:pt x="55006" y="100182"/>
                    <a:pt x="55006" y="100182"/>
                  </a:cubicBezTo>
                  <a:lnTo>
                    <a:pt x="55617" y="99571"/>
                  </a:lnTo>
                  <a:cubicBezTo>
                    <a:pt x="55617" y="99571"/>
                    <a:pt x="55617" y="99571"/>
                    <a:pt x="55617" y="99571"/>
                  </a:cubicBezTo>
                  <a:cubicBezTo>
                    <a:pt x="59285" y="95906"/>
                    <a:pt x="61729" y="91630"/>
                    <a:pt x="62951" y="87354"/>
                  </a:cubicBezTo>
                  <a:cubicBezTo>
                    <a:pt x="67841" y="89187"/>
                    <a:pt x="73342" y="90408"/>
                    <a:pt x="79453" y="90408"/>
                  </a:cubicBezTo>
                  <a:cubicBezTo>
                    <a:pt x="85565" y="90408"/>
                    <a:pt x="91066" y="89187"/>
                    <a:pt x="95955" y="87354"/>
                  </a:cubicBezTo>
                  <a:cubicBezTo>
                    <a:pt x="97177" y="91630"/>
                    <a:pt x="99622" y="95906"/>
                    <a:pt x="103289" y="99571"/>
                  </a:cubicBezTo>
                  <a:cubicBezTo>
                    <a:pt x="103289" y="99571"/>
                    <a:pt x="103289" y="99571"/>
                    <a:pt x="103289" y="99571"/>
                  </a:cubicBezTo>
                  <a:cubicBezTo>
                    <a:pt x="103289" y="99571"/>
                    <a:pt x="103901" y="99571"/>
                    <a:pt x="103901" y="100182"/>
                  </a:cubicBezTo>
                  <a:cubicBezTo>
                    <a:pt x="103901" y="100182"/>
                    <a:pt x="104512" y="100182"/>
                    <a:pt x="104512" y="100182"/>
                  </a:cubicBezTo>
                  <a:cubicBezTo>
                    <a:pt x="104512" y="100182"/>
                    <a:pt x="104512" y="100182"/>
                    <a:pt x="104512" y="100182"/>
                  </a:cubicBezTo>
                  <a:cubicBezTo>
                    <a:pt x="105734" y="100182"/>
                    <a:pt x="106956" y="100793"/>
                    <a:pt x="108179" y="100793"/>
                  </a:cubicBezTo>
                  <a:cubicBezTo>
                    <a:pt x="106956" y="111178"/>
                    <a:pt x="94733" y="119730"/>
                    <a:pt x="79453" y="119730"/>
                  </a:cubicBezTo>
                  <a:cubicBezTo>
                    <a:pt x="64174" y="119730"/>
                    <a:pt x="52561" y="111789"/>
                    <a:pt x="50728" y="101404"/>
                  </a:cubicBezTo>
                  <a:cubicBezTo>
                    <a:pt x="51950" y="100182"/>
                    <a:pt x="53173" y="100182"/>
                    <a:pt x="54395" y="100182"/>
                  </a:cubicBezTo>
                  <a:close/>
                  <a:moveTo>
                    <a:pt x="146072" y="153939"/>
                  </a:moveTo>
                  <a:cubicBezTo>
                    <a:pt x="136293" y="159436"/>
                    <a:pt x="114902" y="167988"/>
                    <a:pt x="79453" y="167988"/>
                  </a:cubicBezTo>
                  <a:cubicBezTo>
                    <a:pt x="44616" y="167988"/>
                    <a:pt x="22614" y="159436"/>
                    <a:pt x="12835" y="153939"/>
                  </a:cubicBezTo>
                  <a:cubicBezTo>
                    <a:pt x="8556" y="151495"/>
                    <a:pt x="5500" y="146608"/>
                    <a:pt x="5500" y="141110"/>
                  </a:cubicBezTo>
                  <a:lnTo>
                    <a:pt x="5500" y="133169"/>
                  </a:lnTo>
                  <a:cubicBezTo>
                    <a:pt x="5500" y="124006"/>
                    <a:pt x="10390" y="116065"/>
                    <a:pt x="18335" y="111789"/>
                  </a:cubicBezTo>
                  <a:cubicBezTo>
                    <a:pt x="23836" y="108734"/>
                    <a:pt x="29948" y="106291"/>
                    <a:pt x="35448" y="104458"/>
                  </a:cubicBezTo>
                  <a:cubicBezTo>
                    <a:pt x="38504" y="103237"/>
                    <a:pt x="40949" y="102626"/>
                    <a:pt x="43394" y="102015"/>
                  </a:cubicBezTo>
                  <a:lnTo>
                    <a:pt x="44616" y="102015"/>
                  </a:lnTo>
                  <a:cubicBezTo>
                    <a:pt x="47061" y="114843"/>
                    <a:pt x="61729" y="125228"/>
                    <a:pt x="78842" y="125228"/>
                  </a:cubicBezTo>
                  <a:cubicBezTo>
                    <a:pt x="95955" y="125228"/>
                    <a:pt x="110623" y="114843"/>
                    <a:pt x="113068" y="102015"/>
                  </a:cubicBezTo>
                  <a:cubicBezTo>
                    <a:pt x="113679" y="102015"/>
                    <a:pt x="113679" y="102015"/>
                    <a:pt x="114291" y="102626"/>
                  </a:cubicBezTo>
                  <a:cubicBezTo>
                    <a:pt x="116735" y="103237"/>
                    <a:pt x="119180" y="103847"/>
                    <a:pt x="122236" y="105069"/>
                  </a:cubicBezTo>
                  <a:cubicBezTo>
                    <a:pt x="128348" y="106902"/>
                    <a:pt x="133848" y="109345"/>
                    <a:pt x="139349" y="112400"/>
                  </a:cubicBezTo>
                  <a:cubicBezTo>
                    <a:pt x="147294" y="116676"/>
                    <a:pt x="152184" y="124617"/>
                    <a:pt x="152184" y="133780"/>
                  </a:cubicBezTo>
                  <a:lnTo>
                    <a:pt x="152184" y="141721"/>
                  </a:lnTo>
                  <a:cubicBezTo>
                    <a:pt x="153406" y="146608"/>
                    <a:pt x="150962" y="150884"/>
                    <a:pt x="146072" y="153939"/>
                  </a:cubicBezTo>
                  <a:close/>
                </a:path>
              </a:pathLst>
            </a:custGeom>
            <a:solidFill>
              <a:srgbClr val="2473B9"/>
            </a:solidFill>
            <a:ln w="61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</p:grpSp>
      <p:grpSp>
        <p:nvGrpSpPr>
          <p:cNvPr id="43" name="Group 42">
            <a:extLst>
              <a:ext uri="{FF2B5EF4-FFF2-40B4-BE49-F238E27FC236}">
                <a16:creationId xmlns:a16="http://schemas.microsoft.com/office/drawing/2014/main" id="{5F7C5E5B-9E4B-704A-832E-0B4A31F291D2}"/>
              </a:ext>
            </a:extLst>
          </p:cNvPr>
          <p:cNvGrpSpPr/>
          <p:nvPr/>
        </p:nvGrpSpPr>
        <p:grpSpPr>
          <a:xfrm>
            <a:off x="6618604" y="2767437"/>
            <a:ext cx="853440" cy="853440"/>
            <a:chOff x="4243624" y="656353"/>
            <a:chExt cx="640080" cy="640080"/>
          </a:xfrm>
        </p:grpSpPr>
        <p:sp>
          <p:nvSpPr>
            <p:cNvPr id="44" name="Oval 43">
              <a:extLst>
                <a:ext uri="{FF2B5EF4-FFF2-40B4-BE49-F238E27FC236}">
                  <a16:creationId xmlns:a16="http://schemas.microsoft.com/office/drawing/2014/main" id="{686CA766-5F55-DE46-8694-B86831441BB3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243624" y="656353"/>
              <a:ext cx="640080" cy="64008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45" name="Graphic 11">
              <a:extLst>
                <a:ext uri="{FF2B5EF4-FFF2-40B4-BE49-F238E27FC236}">
                  <a16:creationId xmlns:a16="http://schemas.microsoft.com/office/drawing/2014/main" id="{23A3117E-4CA4-B74E-B5B5-3A2871811E40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378703" y="775225"/>
              <a:ext cx="369923" cy="402336"/>
            </a:xfrm>
            <a:custGeom>
              <a:avLst/>
              <a:gdLst>
                <a:gd name="connsiteX0" fmla="*/ 143627 w 158948"/>
                <a:gd name="connsiteY0" fmla="*/ 106291 h 172875"/>
                <a:gd name="connsiteX1" fmla="*/ 139960 w 158948"/>
                <a:gd name="connsiteY1" fmla="*/ 104458 h 172875"/>
                <a:gd name="connsiteX2" fmla="*/ 127736 w 158948"/>
                <a:gd name="connsiteY2" fmla="*/ 99571 h 172875"/>
                <a:gd name="connsiteX3" fmla="*/ 127736 w 158948"/>
                <a:gd name="connsiteY3" fmla="*/ 99571 h 172875"/>
                <a:gd name="connsiteX4" fmla="*/ 124680 w 158948"/>
                <a:gd name="connsiteY4" fmla="*/ 98350 h 172875"/>
                <a:gd name="connsiteX5" fmla="*/ 116735 w 158948"/>
                <a:gd name="connsiteY5" fmla="*/ 95906 h 172875"/>
                <a:gd name="connsiteX6" fmla="*/ 106956 w 158948"/>
                <a:gd name="connsiteY6" fmla="*/ 93463 h 172875"/>
                <a:gd name="connsiteX7" fmla="*/ 101456 w 158948"/>
                <a:gd name="connsiteY7" fmla="*/ 83689 h 172875"/>
                <a:gd name="connsiteX8" fmla="*/ 124069 w 158948"/>
                <a:gd name="connsiteY8" fmla="*/ 44593 h 172875"/>
                <a:gd name="connsiteX9" fmla="*/ 79453 w 158948"/>
                <a:gd name="connsiteY9" fmla="*/ 0 h 172875"/>
                <a:gd name="connsiteX10" fmla="*/ 34837 w 158948"/>
                <a:gd name="connsiteY10" fmla="*/ 44593 h 172875"/>
                <a:gd name="connsiteX11" fmla="*/ 57451 w 158948"/>
                <a:gd name="connsiteY11" fmla="*/ 83689 h 172875"/>
                <a:gd name="connsiteX12" fmla="*/ 51950 w 158948"/>
                <a:gd name="connsiteY12" fmla="*/ 94074 h 172875"/>
                <a:gd name="connsiteX13" fmla="*/ 42171 w 158948"/>
                <a:gd name="connsiteY13" fmla="*/ 95906 h 172875"/>
                <a:gd name="connsiteX14" fmla="*/ 34226 w 158948"/>
                <a:gd name="connsiteY14" fmla="*/ 98350 h 172875"/>
                <a:gd name="connsiteX15" fmla="*/ 28726 w 158948"/>
                <a:gd name="connsiteY15" fmla="*/ 100182 h 172875"/>
                <a:gd name="connsiteX16" fmla="*/ 28726 w 158948"/>
                <a:gd name="connsiteY16" fmla="*/ 100182 h 172875"/>
                <a:gd name="connsiteX17" fmla="*/ 23225 w 158948"/>
                <a:gd name="connsiteY17" fmla="*/ 102626 h 172875"/>
                <a:gd name="connsiteX18" fmla="*/ 23225 w 158948"/>
                <a:gd name="connsiteY18" fmla="*/ 102626 h 172875"/>
                <a:gd name="connsiteX19" fmla="*/ 15891 w 158948"/>
                <a:gd name="connsiteY19" fmla="*/ 106291 h 172875"/>
                <a:gd name="connsiteX20" fmla="*/ 0 w 158948"/>
                <a:gd name="connsiteY20" fmla="*/ 132558 h 172875"/>
                <a:gd name="connsiteX21" fmla="*/ 0 w 158948"/>
                <a:gd name="connsiteY21" fmla="*/ 140499 h 172875"/>
                <a:gd name="connsiteX22" fmla="*/ 10390 w 158948"/>
                <a:gd name="connsiteY22" fmla="*/ 158215 h 172875"/>
                <a:gd name="connsiteX23" fmla="*/ 79453 w 158948"/>
                <a:gd name="connsiteY23" fmla="*/ 172875 h 172875"/>
                <a:gd name="connsiteX24" fmla="*/ 148517 w 158948"/>
                <a:gd name="connsiteY24" fmla="*/ 158215 h 172875"/>
                <a:gd name="connsiteX25" fmla="*/ 158907 w 158948"/>
                <a:gd name="connsiteY25" fmla="*/ 140499 h 172875"/>
                <a:gd name="connsiteX26" fmla="*/ 158907 w 158948"/>
                <a:gd name="connsiteY26" fmla="*/ 132558 h 172875"/>
                <a:gd name="connsiteX27" fmla="*/ 143627 w 158948"/>
                <a:gd name="connsiteY27" fmla="*/ 106291 h 172875"/>
                <a:gd name="connsiteX28" fmla="*/ 40338 w 158948"/>
                <a:gd name="connsiteY28" fmla="*/ 45204 h 172875"/>
                <a:gd name="connsiteX29" fmla="*/ 80064 w 158948"/>
                <a:gd name="connsiteY29" fmla="*/ 5498 h 172875"/>
                <a:gd name="connsiteX30" fmla="*/ 119791 w 158948"/>
                <a:gd name="connsiteY30" fmla="*/ 45204 h 172875"/>
                <a:gd name="connsiteX31" fmla="*/ 80064 w 158948"/>
                <a:gd name="connsiteY31" fmla="*/ 84911 h 172875"/>
                <a:gd name="connsiteX32" fmla="*/ 40338 w 158948"/>
                <a:gd name="connsiteY32" fmla="*/ 45204 h 172875"/>
                <a:gd name="connsiteX33" fmla="*/ 54395 w 158948"/>
                <a:gd name="connsiteY33" fmla="*/ 100182 h 172875"/>
                <a:gd name="connsiteX34" fmla="*/ 54395 w 158948"/>
                <a:gd name="connsiteY34" fmla="*/ 100182 h 172875"/>
                <a:gd name="connsiteX35" fmla="*/ 54395 w 158948"/>
                <a:gd name="connsiteY35" fmla="*/ 100182 h 172875"/>
                <a:gd name="connsiteX36" fmla="*/ 55006 w 158948"/>
                <a:gd name="connsiteY36" fmla="*/ 100182 h 172875"/>
                <a:gd name="connsiteX37" fmla="*/ 55617 w 158948"/>
                <a:gd name="connsiteY37" fmla="*/ 99571 h 172875"/>
                <a:gd name="connsiteX38" fmla="*/ 55617 w 158948"/>
                <a:gd name="connsiteY38" fmla="*/ 99571 h 172875"/>
                <a:gd name="connsiteX39" fmla="*/ 62951 w 158948"/>
                <a:gd name="connsiteY39" fmla="*/ 87354 h 172875"/>
                <a:gd name="connsiteX40" fmla="*/ 79453 w 158948"/>
                <a:gd name="connsiteY40" fmla="*/ 90408 h 172875"/>
                <a:gd name="connsiteX41" fmla="*/ 95955 w 158948"/>
                <a:gd name="connsiteY41" fmla="*/ 87354 h 172875"/>
                <a:gd name="connsiteX42" fmla="*/ 103289 w 158948"/>
                <a:gd name="connsiteY42" fmla="*/ 99571 h 172875"/>
                <a:gd name="connsiteX43" fmla="*/ 103289 w 158948"/>
                <a:gd name="connsiteY43" fmla="*/ 99571 h 172875"/>
                <a:gd name="connsiteX44" fmla="*/ 103901 w 158948"/>
                <a:gd name="connsiteY44" fmla="*/ 100182 h 172875"/>
                <a:gd name="connsiteX45" fmla="*/ 104512 w 158948"/>
                <a:gd name="connsiteY45" fmla="*/ 100182 h 172875"/>
                <a:gd name="connsiteX46" fmla="*/ 104512 w 158948"/>
                <a:gd name="connsiteY46" fmla="*/ 100182 h 172875"/>
                <a:gd name="connsiteX47" fmla="*/ 108179 w 158948"/>
                <a:gd name="connsiteY47" fmla="*/ 100793 h 172875"/>
                <a:gd name="connsiteX48" fmla="*/ 79453 w 158948"/>
                <a:gd name="connsiteY48" fmla="*/ 119730 h 172875"/>
                <a:gd name="connsiteX49" fmla="*/ 50728 w 158948"/>
                <a:gd name="connsiteY49" fmla="*/ 101404 h 172875"/>
                <a:gd name="connsiteX50" fmla="*/ 54395 w 158948"/>
                <a:gd name="connsiteY50" fmla="*/ 100182 h 172875"/>
                <a:gd name="connsiteX51" fmla="*/ 146072 w 158948"/>
                <a:gd name="connsiteY51" fmla="*/ 153939 h 172875"/>
                <a:gd name="connsiteX52" fmla="*/ 79453 w 158948"/>
                <a:gd name="connsiteY52" fmla="*/ 167988 h 172875"/>
                <a:gd name="connsiteX53" fmla="*/ 12835 w 158948"/>
                <a:gd name="connsiteY53" fmla="*/ 153939 h 172875"/>
                <a:gd name="connsiteX54" fmla="*/ 5500 w 158948"/>
                <a:gd name="connsiteY54" fmla="*/ 141110 h 172875"/>
                <a:gd name="connsiteX55" fmla="*/ 5500 w 158948"/>
                <a:gd name="connsiteY55" fmla="*/ 133169 h 172875"/>
                <a:gd name="connsiteX56" fmla="*/ 18335 w 158948"/>
                <a:gd name="connsiteY56" fmla="*/ 111789 h 172875"/>
                <a:gd name="connsiteX57" fmla="*/ 35448 w 158948"/>
                <a:gd name="connsiteY57" fmla="*/ 104458 h 172875"/>
                <a:gd name="connsiteX58" fmla="*/ 43394 w 158948"/>
                <a:gd name="connsiteY58" fmla="*/ 102015 h 172875"/>
                <a:gd name="connsiteX59" fmla="*/ 44616 w 158948"/>
                <a:gd name="connsiteY59" fmla="*/ 102015 h 172875"/>
                <a:gd name="connsiteX60" fmla="*/ 78842 w 158948"/>
                <a:gd name="connsiteY60" fmla="*/ 125228 h 172875"/>
                <a:gd name="connsiteX61" fmla="*/ 113068 w 158948"/>
                <a:gd name="connsiteY61" fmla="*/ 102015 h 172875"/>
                <a:gd name="connsiteX62" fmla="*/ 114291 w 158948"/>
                <a:gd name="connsiteY62" fmla="*/ 102626 h 172875"/>
                <a:gd name="connsiteX63" fmla="*/ 122236 w 158948"/>
                <a:gd name="connsiteY63" fmla="*/ 105069 h 172875"/>
                <a:gd name="connsiteX64" fmla="*/ 139349 w 158948"/>
                <a:gd name="connsiteY64" fmla="*/ 112400 h 172875"/>
                <a:gd name="connsiteX65" fmla="*/ 152184 w 158948"/>
                <a:gd name="connsiteY65" fmla="*/ 133780 h 172875"/>
                <a:gd name="connsiteX66" fmla="*/ 152184 w 158948"/>
                <a:gd name="connsiteY66" fmla="*/ 141721 h 172875"/>
                <a:gd name="connsiteX67" fmla="*/ 146072 w 158948"/>
                <a:gd name="connsiteY67" fmla="*/ 153939 h 172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158948" h="172875">
                  <a:moveTo>
                    <a:pt x="143627" y="106291"/>
                  </a:moveTo>
                  <a:cubicBezTo>
                    <a:pt x="142405" y="105680"/>
                    <a:pt x="141182" y="105069"/>
                    <a:pt x="139960" y="104458"/>
                  </a:cubicBezTo>
                  <a:cubicBezTo>
                    <a:pt x="136904" y="102626"/>
                    <a:pt x="127736" y="99571"/>
                    <a:pt x="127736" y="99571"/>
                  </a:cubicBezTo>
                  <a:lnTo>
                    <a:pt x="127736" y="99571"/>
                  </a:lnTo>
                  <a:cubicBezTo>
                    <a:pt x="126514" y="98961"/>
                    <a:pt x="125903" y="98961"/>
                    <a:pt x="124680" y="98350"/>
                  </a:cubicBezTo>
                  <a:cubicBezTo>
                    <a:pt x="121625" y="97128"/>
                    <a:pt x="119180" y="96517"/>
                    <a:pt x="116735" y="95906"/>
                  </a:cubicBezTo>
                  <a:cubicBezTo>
                    <a:pt x="113679" y="94684"/>
                    <a:pt x="110012" y="94074"/>
                    <a:pt x="106956" y="93463"/>
                  </a:cubicBezTo>
                  <a:cubicBezTo>
                    <a:pt x="104512" y="91019"/>
                    <a:pt x="102678" y="87354"/>
                    <a:pt x="101456" y="83689"/>
                  </a:cubicBezTo>
                  <a:cubicBezTo>
                    <a:pt x="114902" y="75748"/>
                    <a:pt x="124069" y="61698"/>
                    <a:pt x="124069" y="44593"/>
                  </a:cubicBezTo>
                  <a:cubicBezTo>
                    <a:pt x="124069" y="20159"/>
                    <a:pt x="103901" y="0"/>
                    <a:pt x="79453" y="0"/>
                  </a:cubicBezTo>
                  <a:cubicBezTo>
                    <a:pt x="55006" y="0"/>
                    <a:pt x="34837" y="20159"/>
                    <a:pt x="34837" y="44593"/>
                  </a:cubicBezTo>
                  <a:cubicBezTo>
                    <a:pt x="34837" y="61087"/>
                    <a:pt x="44005" y="75748"/>
                    <a:pt x="57451" y="83689"/>
                  </a:cubicBezTo>
                  <a:cubicBezTo>
                    <a:pt x="56229" y="87354"/>
                    <a:pt x="54395" y="91019"/>
                    <a:pt x="51950" y="94074"/>
                  </a:cubicBezTo>
                  <a:cubicBezTo>
                    <a:pt x="45838" y="95295"/>
                    <a:pt x="42171" y="95906"/>
                    <a:pt x="42171" y="95906"/>
                  </a:cubicBezTo>
                  <a:cubicBezTo>
                    <a:pt x="39727" y="96517"/>
                    <a:pt x="37282" y="97128"/>
                    <a:pt x="34226" y="98350"/>
                  </a:cubicBezTo>
                  <a:cubicBezTo>
                    <a:pt x="32392" y="98961"/>
                    <a:pt x="30559" y="99571"/>
                    <a:pt x="28726" y="100182"/>
                  </a:cubicBezTo>
                  <a:cubicBezTo>
                    <a:pt x="28726" y="100182"/>
                    <a:pt x="28726" y="100182"/>
                    <a:pt x="28726" y="100182"/>
                  </a:cubicBezTo>
                  <a:cubicBezTo>
                    <a:pt x="26892" y="100793"/>
                    <a:pt x="25058" y="102015"/>
                    <a:pt x="23225" y="102626"/>
                  </a:cubicBezTo>
                  <a:cubicBezTo>
                    <a:pt x="23225" y="102626"/>
                    <a:pt x="23225" y="102626"/>
                    <a:pt x="23225" y="102626"/>
                  </a:cubicBezTo>
                  <a:cubicBezTo>
                    <a:pt x="20780" y="103847"/>
                    <a:pt x="18335" y="105069"/>
                    <a:pt x="15891" y="106291"/>
                  </a:cubicBezTo>
                  <a:cubicBezTo>
                    <a:pt x="6112" y="111178"/>
                    <a:pt x="0" y="121563"/>
                    <a:pt x="0" y="132558"/>
                  </a:cubicBezTo>
                  <a:lnTo>
                    <a:pt x="0" y="140499"/>
                  </a:lnTo>
                  <a:cubicBezTo>
                    <a:pt x="0" y="147830"/>
                    <a:pt x="4278" y="154549"/>
                    <a:pt x="10390" y="158215"/>
                  </a:cubicBezTo>
                  <a:cubicBezTo>
                    <a:pt x="22614" y="164934"/>
                    <a:pt x="45227" y="172875"/>
                    <a:pt x="79453" y="172875"/>
                  </a:cubicBezTo>
                  <a:cubicBezTo>
                    <a:pt x="113679" y="172875"/>
                    <a:pt x="136293" y="164934"/>
                    <a:pt x="148517" y="158215"/>
                  </a:cubicBezTo>
                  <a:cubicBezTo>
                    <a:pt x="155239" y="154549"/>
                    <a:pt x="158907" y="147830"/>
                    <a:pt x="158907" y="140499"/>
                  </a:cubicBezTo>
                  <a:lnTo>
                    <a:pt x="158907" y="132558"/>
                  </a:lnTo>
                  <a:cubicBezTo>
                    <a:pt x="159518" y="121563"/>
                    <a:pt x="153406" y="111789"/>
                    <a:pt x="143627" y="106291"/>
                  </a:cubicBezTo>
                  <a:close/>
                  <a:moveTo>
                    <a:pt x="40338" y="45204"/>
                  </a:moveTo>
                  <a:cubicBezTo>
                    <a:pt x="40338" y="23213"/>
                    <a:pt x="58062" y="5498"/>
                    <a:pt x="80064" y="5498"/>
                  </a:cubicBezTo>
                  <a:cubicBezTo>
                    <a:pt x="102067" y="5498"/>
                    <a:pt x="119791" y="23213"/>
                    <a:pt x="119791" y="45204"/>
                  </a:cubicBezTo>
                  <a:cubicBezTo>
                    <a:pt x="119791" y="67195"/>
                    <a:pt x="102067" y="84911"/>
                    <a:pt x="80064" y="84911"/>
                  </a:cubicBezTo>
                  <a:cubicBezTo>
                    <a:pt x="58062" y="84911"/>
                    <a:pt x="40338" y="67195"/>
                    <a:pt x="40338" y="45204"/>
                  </a:cubicBezTo>
                  <a:close/>
                  <a:moveTo>
                    <a:pt x="54395" y="100182"/>
                  </a:moveTo>
                  <a:lnTo>
                    <a:pt x="54395" y="100182"/>
                  </a:lnTo>
                  <a:cubicBezTo>
                    <a:pt x="55006" y="100182"/>
                    <a:pt x="55006" y="100182"/>
                    <a:pt x="54395" y="100182"/>
                  </a:cubicBezTo>
                  <a:cubicBezTo>
                    <a:pt x="55006" y="100182"/>
                    <a:pt x="55006" y="100182"/>
                    <a:pt x="55006" y="100182"/>
                  </a:cubicBezTo>
                  <a:lnTo>
                    <a:pt x="55617" y="99571"/>
                  </a:lnTo>
                  <a:cubicBezTo>
                    <a:pt x="55617" y="99571"/>
                    <a:pt x="55617" y="99571"/>
                    <a:pt x="55617" y="99571"/>
                  </a:cubicBezTo>
                  <a:cubicBezTo>
                    <a:pt x="59285" y="95906"/>
                    <a:pt x="61729" y="91630"/>
                    <a:pt x="62951" y="87354"/>
                  </a:cubicBezTo>
                  <a:cubicBezTo>
                    <a:pt x="67841" y="89187"/>
                    <a:pt x="73342" y="90408"/>
                    <a:pt x="79453" y="90408"/>
                  </a:cubicBezTo>
                  <a:cubicBezTo>
                    <a:pt x="85565" y="90408"/>
                    <a:pt x="91066" y="89187"/>
                    <a:pt x="95955" y="87354"/>
                  </a:cubicBezTo>
                  <a:cubicBezTo>
                    <a:pt x="97177" y="91630"/>
                    <a:pt x="99622" y="95906"/>
                    <a:pt x="103289" y="99571"/>
                  </a:cubicBezTo>
                  <a:cubicBezTo>
                    <a:pt x="103289" y="99571"/>
                    <a:pt x="103289" y="99571"/>
                    <a:pt x="103289" y="99571"/>
                  </a:cubicBezTo>
                  <a:cubicBezTo>
                    <a:pt x="103289" y="99571"/>
                    <a:pt x="103901" y="99571"/>
                    <a:pt x="103901" y="100182"/>
                  </a:cubicBezTo>
                  <a:cubicBezTo>
                    <a:pt x="103901" y="100182"/>
                    <a:pt x="104512" y="100182"/>
                    <a:pt x="104512" y="100182"/>
                  </a:cubicBezTo>
                  <a:cubicBezTo>
                    <a:pt x="104512" y="100182"/>
                    <a:pt x="104512" y="100182"/>
                    <a:pt x="104512" y="100182"/>
                  </a:cubicBezTo>
                  <a:cubicBezTo>
                    <a:pt x="105734" y="100182"/>
                    <a:pt x="106956" y="100793"/>
                    <a:pt x="108179" y="100793"/>
                  </a:cubicBezTo>
                  <a:cubicBezTo>
                    <a:pt x="106956" y="111178"/>
                    <a:pt x="94733" y="119730"/>
                    <a:pt x="79453" y="119730"/>
                  </a:cubicBezTo>
                  <a:cubicBezTo>
                    <a:pt x="64174" y="119730"/>
                    <a:pt x="52561" y="111789"/>
                    <a:pt x="50728" y="101404"/>
                  </a:cubicBezTo>
                  <a:cubicBezTo>
                    <a:pt x="51950" y="100182"/>
                    <a:pt x="53173" y="100182"/>
                    <a:pt x="54395" y="100182"/>
                  </a:cubicBezTo>
                  <a:close/>
                  <a:moveTo>
                    <a:pt x="146072" y="153939"/>
                  </a:moveTo>
                  <a:cubicBezTo>
                    <a:pt x="136293" y="159436"/>
                    <a:pt x="114902" y="167988"/>
                    <a:pt x="79453" y="167988"/>
                  </a:cubicBezTo>
                  <a:cubicBezTo>
                    <a:pt x="44616" y="167988"/>
                    <a:pt x="22614" y="159436"/>
                    <a:pt x="12835" y="153939"/>
                  </a:cubicBezTo>
                  <a:cubicBezTo>
                    <a:pt x="8556" y="151495"/>
                    <a:pt x="5500" y="146608"/>
                    <a:pt x="5500" y="141110"/>
                  </a:cubicBezTo>
                  <a:lnTo>
                    <a:pt x="5500" y="133169"/>
                  </a:lnTo>
                  <a:cubicBezTo>
                    <a:pt x="5500" y="124006"/>
                    <a:pt x="10390" y="116065"/>
                    <a:pt x="18335" y="111789"/>
                  </a:cubicBezTo>
                  <a:cubicBezTo>
                    <a:pt x="23836" y="108734"/>
                    <a:pt x="29948" y="106291"/>
                    <a:pt x="35448" y="104458"/>
                  </a:cubicBezTo>
                  <a:cubicBezTo>
                    <a:pt x="38504" y="103237"/>
                    <a:pt x="40949" y="102626"/>
                    <a:pt x="43394" y="102015"/>
                  </a:cubicBezTo>
                  <a:lnTo>
                    <a:pt x="44616" y="102015"/>
                  </a:lnTo>
                  <a:cubicBezTo>
                    <a:pt x="47061" y="114843"/>
                    <a:pt x="61729" y="125228"/>
                    <a:pt x="78842" y="125228"/>
                  </a:cubicBezTo>
                  <a:cubicBezTo>
                    <a:pt x="95955" y="125228"/>
                    <a:pt x="110623" y="114843"/>
                    <a:pt x="113068" y="102015"/>
                  </a:cubicBezTo>
                  <a:cubicBezTo>
                    <a:pt x="113679" y="102015"/>
                    <a:pt x="113679" y="102015"/>
                    <a:pt x="114291" y="102626"/>
                  </a:cubicBezTo>
                  <a:cubicBezTo>
                    <a:pt x="116735" y="103237"/>
                    <a:pt x="119180" y="103847"/>
                    <a:pt x="122236" y="105069"/>
                  </a:cubicBezTo>
                  <a:cubicBezTo>
                    <a:pt x="128348" y="106902"/>
                    <a:pt x="133848" y="109345"/>
                    <a:pt x="139349" y="112400"/>
                  </a:cubicBezTo>
                  <a:cubicBezTo>
                    <a:pt x="147294" y="116676"/>
                    <a:pt x="152184" y="124617"/>
                    <a:pt x="152184" y="133780"/>
                  </a:cubicBezTo>
                  <a:lnTo>
                    <a:pt x="152184" y="141721"/>
                  </a:lnTo>
                  <a:cubicBezTo>
                    <a:pt x="153406" y="146608"/>
                    <a:pt x="150962" y="150884"/>
                    <a:pt x="146072" y="153939"/>
                  </a:cubicBezTo>
                  <a:close/>
                </a:path>
              </a:pathLst>
            </a:custGeom>
            <a:solidFill>
              <a:srgbClr val="2473B9"/>
            </a:solidFill>
            <a:ln w="61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</p:grpSp>
      <p:grpSp>
        <p:nvGrpSpPr>
          <p:cNvPr id="46" name="Group 45">
            <a:extLst>
              <a:ext uri="{FF2B5EF4-FFF2-40B4-BE49-F238E27FC236}">
                <a16:creationId xmlns:a16="http://schemas.microsoft.com/office/drawing/2014/main" id="{569E661D-7BB0-2349-A1AC-2FE7F75D2F16}"/>
              </a:ext>
            </a:extLst>
          </p:cNvPr>
          <p:cNvGrpSpPr/>
          <p:nvPr/>
        </p:nvGrpSpPr>
        <p:grpSpPr>
          <a:xfrm>
            <a:off x="8542655" y="2767437"/>
            <a:ext cx="853440" cy="853440"/>
            <a:chOff x="4243624" y="656353"/>
            <a:chExt cx="640080" cy="640080"/>
          </a:xfrm>
        </p:grpSpPr>
        <p:sp>
          <p:nvSpPr>
            <p:cNvPr id="47" name="Oval 46">
              <a:extLst>
                <a:ext uri="{FF2B5EF4-FFF2-40B4-BE49-F238E27FC236}">
                  <a16:creationId xmlns:a16="http://schemas.microsoft.com/office/drawing/2014/main" id="{B6697E5E-E908-BF42-BBE3-130BFEFCD483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243624" y="656353"/>
              <a:ext cx="640080" cy="64008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48" name="Graphic 11">
              <a:extLst>
                <a:ext uri="{FF2B5EF4-FFF2-40B4-BE49-F238E27FC236}">
                  <a16:creationId xmlns:a16="http://schemas.microsoft.com/office/drawing/2014/main" id="{6A100CDF-790E-ED43-8E61-54143928A572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378703" y="775225"/>
              <a:ext cx="369923" cy="402336"/>
            </a:xfrm>
            <a:custGeom>
              <a:avLst/>
              <a:gdLst>
                <a:gd name="connsiteX0" fmla="*/ 143627 w 158948"/>
                <a:gd name="connsiteY0" fmla="*/ 106291 h 172875"/>
                <a:gd name="connsiteX1" fmla="*/ 139960 w 158948"/>
                <a:gd name="connsiteY1" fmla="*/ 104458 h 172875"/>
                <a:gd name="connsiteX2" fmla="*/ 127736 w 158948"/>
                <a:gd name="connsiteY2" fmla="*/ 99571 h 172875"/>
                <a:gd name="connsiteX3" fmla="*/ 127736 w 158948"/>
                <a:gd name="connsiteY3" fmla="*/ 99571 h 172875"/>
                <a:gd name="connsiteX4" fmla="*/ 124680 w 158948"/>
                <a:gd name="connsiteY4" fmla="*/ 98350 h 172875"/>
                <a:gd name="connsiteX5" fmla="*/ 116735 w 158948"/>
                <a:gd name="connsiteY5" fmla="*/ 95906 h 172875"/>
                <a:gd name="connsiteX6" fmla="*/ 106956 w 158948"/>
                <a:gd name="connsiteY6" fmla="*/ 93463 h 172875"/>
                <a:gd name="connsiteX7" fmla="*/ 101456 w 158948"/>
                <a:gd name="connsiteY7" fmla="*/ 83689 h 172875"/>
                <a:gd name="connsiteX8" fmla="*/ 124069 w 158948"/>
                <a:gd name="connsiteY8" fmla="*/ 44593 h 172875"/>
                <a:gd name="connsiteX9" fmla="*/ 79453 w 158948"/>
                <a:gd name="connsiteY9" fmla="*/ 0 h 172875"/>
                <a:gd name="connsiteX10" fmla="*/ 34837 w 158948"/>
                <a:gd name="connsiteY10" fmla="*/ 44593 h 172875"/>
                <a:gd name="connsiteX11" fmla="*/ 57451 w 158948"/>
                <a:gd name="connsiteY11" fmla="*/ 83689 h 172875"/>
                <a:gd name="connsiteX12" fmla="*/ 51950 w 158948"/>
                <a:gd name="connsiteY12" fmla="*/ 94074 h 172875"/>
                <a:gd name="connsiteX13" fmla="*/ 42171 w 158948"/>
                <a:gd name="connsiteY13" fmla="*/ 95906 h 172875"/>
                <a:gd name="connsiteX14" fmla="*/ 34226 w 158948"/>
                <a:gd name="connsiteY14" fmla="*/ 98350 h 172875"/>
                <a:gd name="connsiteX15" fmla="*/ 28726 w 158948"/>
                <a:gd name="connsiteY15" fmla="*/ 100182 h 172875"/>
                <a:gd name="connsiteX16" fmla="*/ 28726 w 158948"/>
                <a:gd name="connsiteY16" fmla="*/ 100182 h 172875"/>
                <a:gd name="connsiteX17" fmla="*/ 23225 w 158948"/>
                <a:gd name="connsiteY17" fmla="*/ 102626 h 172875"/>
                <a:gd name="connsiteX18" fmla="*/ 23225 w 158948"/>
                <a:gd name="connsiteY18" fmla="*/ 102626 h 172875"/>
                <a:gd name="connsiteX19" fmla="*/ 15891 w 158948"/>
                <a:gd name="connsiteY19" fmla="*/ 106291 h 172875"/>
                <a:gd name="connsiteX20" fmla="*/ 0 w 158948"/>
                <a:gd name="connsiteY20" fmla="*/ 132558 h 172875"/>
                <a:gd name="connsiteX21" fmla="*/ 0 w 158948"/>
                <a:gd name="connsiteY21" fmla="*/ 140499 h 172875"/>
                <a:gd name="connsiteX22" fmla="*/ 10390 w 158948"/>
                <a:gd name="connsiteY22" fmla="*/ 158215 h 172875"/>
                <a:gd name="connsiteX23" fmla="*/ 79453 w 158948"/>
                <a:gd name="connsiteY23" fmla="*/ 172875 h 172875"/>
                <a:gd name="connsiteX24" fmla="*/ 148517 w 158948"/>
                <a:gd name="connsiteY24" fmla="*/ 158215 h 172875"/>
                <a:gd name="connsiteX25" fmla="*/ 158907 w 158948"/>
                <a:gd name="connsiteY25" fmla="*/ 140499 h 172875"/>
                <a:gd name="connsiteX26" fmla="*/ 158907 w 158948"/>
                <a:gd name="connsiteY26" fmla="*/ 132558 h 172875"/>
                <a:gd name="connsiteX27" fmla="*/ 143627 w 158948"/>
                <a:gd name="connsiteY27" fmla="*/ 106291 h 172875"/>
                <a:gd name="connsiteX28" fmla="*/ 40338 w 158948"/>
                <a:gd name="connsiteY28" fmla="*/ 45204 h 172875"/>
                <a:gd name="connsiteX29" fmla="*/ 80064 w 158948"/>
                <a:gd name="connsiteY29" fmla="*/ 5498 h 172875"/>
                <a:gd name="connsiteX30" fmla="*/ 119791 w 158948"/>
                <a:gd name="connsiteY30" fmla="*/ 45204 h 172875"/>
                <a:gd name="connsiteX31" fmla="*/ 80064 w 158948"/>
                <a:gd name="connsiteY31" fmla="*/ 84911 h 172875"/>
                <a:gd name="connsiteX32" fmla="*/ 40338 w 158948"/>
                <a:gd name="connsiteY32" fmla="*/ 45204 h 172875"/>
                <a:gd name="connsiteX33" fmla="*/ 54395 w 158948"/>
                <a:gd name="connsiteY33" fmla="*/ 100182 h 172875"/>
                <a:gd name="connsiteX34" fmla="*/ 54395 w 158948"/>
                <a:gd name="connsiteY34" fmla="*/ 100182 h 172875"/>
                <a:gd name="connsiteX35" fmla="*/ 54395 w 158948"/>
                <a:gd name="connsiteY35" fmla="*/ 100182 h 172875"/>
                <a:gd name="connsiteX36" fmla="*/ 55006 w 158948"/>
                <a:gd name="connsiteY36" fmla="*/ 100182 h 172875"/>
                <a:gd name="connsiteX37" fmla="*/ 55617 w 158948"/>
                <a:gd name="connsiteY37" fmla="*/ 99571 h 172875"/>
                <a:gd name="connsiteX38" fmla="*/ 55617 w 158948"/>
                <a:gd name="connsiteY38" fmla="*/ 99571 h 172875"/>
                <a:gd name="connsiteX39" fmla="*/ 62951 w 158948"/>
                <a:gd name="connsiteY39" fmla="*/ 87354 h 172875"/>
                <a:gd name="connsiteX40" fmla="*/ 79453 w 158948"/>
                <a:gd name="connsiteY40" fmla="*/ 90408 h 172875"/>
                <a:gd name="connsiteX41" fmla="*/ 95955 w 158948"/>
                <a:gd name="connsiteY41" fmla="*/ 87354 h 172875"/>
                <a:gd name="connsiteX42" fmla="*/ 103289 w 158948"/>
                <a:gd name="connsiteY42" fmla="*/ 99571 h 172875"/>
                <a:gd name="connsiteX43" fmla="*/ 103289 w 158948"/>
                <a:gd name="connsiteY43" fmla="*/ 99571 h 172875"/>
                <a:gd name="connsiteX44" fmla="*/ 103901 w 158948"/>
                <a:gd name="connsiteY44" fmla="*/ 100182 h 172875"/>
                <a:gd name="connsiteX45" fmla="*/ 104512 w 158948"/>
                <a:gd name="connsiteY45" fmla="*/ 100182 h 172875"/>
                <a:gd name="connsiteX46" fmla="*/ 104512 w 158948"/>
                <a:gd name="connsiteY46" fmla="*/ 100182 h 172875"/>
                <a:gd name="connsiteX47" fmla="*/ 108179 w 158948"/>
                <a:gd name="connsiteY47" fmla="*/ 100793 h 172875"/>
                <a:gd name="connsiteX48" fmla="*/ 79453 w 158948"/>
                <a:gd name="connsiteY48" fmla="*/ 119730 h 172875"/>
                <a:gd name="connsiteX49" fmla="*/ 50728 w 158948"/>
                <a:gd name="connsiteY49" fmla="*/ 101404 h 172875"/>
                <a:gd name="connsiteX50" fmla="*/ 54395 w 158948"/>
                <a:gd name="connsiteY50" fmla="*/ 100182 h 172875"/>
                <a:gd name="connsiteX51" fmla="*/ 146072 w 158948"/>
                <a:gd name="connsiteY51" fmla="*/ 153939 h 172875"/>
                <a:gd name="connsiteX52" fmla="*/ 79453 w 158948"/>
                <a:gd name="connsiteY52" fmla="*/ 167988 h 172875"/>
                <a:gd name="connsiteX53" fmla="*/ 12835 w 158948"/>
                <a:gd name="connsiteY53" fmla="*/ 153939 h 172875"/>
                <a:gd name="connsiteX54" fmla="*/ 5500 w 158948"/>
                <a:gd name="connsiteY54" fmla="*/ 141110 h 172875"/>
                <a:gd name="connsiteX55" fmla="*/ 5500 w 158948"/>
                <a:gd name="connsiteY55" fmla="*/ 133169 h 172875"/>
                <a:gd name="connsiteX56" fmla="*/ 18335 w 158948"/>
                <a:gd name="connsiteY56" fmla="*/ 111789 h 172875"/>
                <a:gd name="connsiteX57" fmla="*/ 35448 w 158948"/>
                <a:gd name="connsiteY57" fmla="*/ 104458 h 172875"/>
                <a:gd name="connsiteX58" fmla="*/ 43394 w 158948"/>
                <a:gd name="connsiteY58" fmla="*/ 102015 h 172875"/>
                <a:gd name="connsiteX59" fmla="*/ 44616 w 158948"/>
                <a:gd name="connsiteY59" fmla="*/ 102015 h 172875"/>
                <a:gd name="connsiteX60" fmla="*/ 78842 w 158948"/>
                <a:gd name="connsiteY60" fmla="*/ 125228 h 172875"/>
                <a:gd name="connsiteX61" fmla="*/ 113068 w 158948"/>
                <a:gd name="connsiteY61" fmla="*/ 102015 h 172875"/>
                <a:gd name="connsiteX62" fmla="*/ 114291 w 158948"/>
                <a:gd name="connsiteY62" fmla="*/ 102626 h 172875"/>
                <a:gd name="connsiteX63" fmla="*/ 122236 w 158948"/>
                <a:gd name="connsiteY63" fmla="*/ 105069 h 172875"/>
                <a:gd name="connsiteX64" fmla="*/ 139349 w 158948"/>
                <a:gd name="connsiteY64" fmla="*/ 112400 h 172875"/>
                <a:gd name="connsiteX65" fmla="*/ 152184 w 158948"/>
                <a:gd name="connsiteY65" fmla="*/ 133780 h 172875"/>
                <a:gd name="connsiteX66" fmla="*/ 152184 w 158948"/>
                <a:gd name="connsiteY66" fmla="*/ 141721 h 172875"/>
                <a:gd name="connsiteX67" fmla="*/ 146072 w 158948"/>
                <a:gd name="connsiteY67" fmla="*/ 153939 h 172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158948" h="172875">
                  <a:moveTo>
                    <a:pt x="143627" y="106291"/>
                  </a:moveTo>
                  <a:cubicBezTo>
                    <a:pt x="142405" y="105680"/>
                    <a:pt x="141182" y="105069"/>
                    <a:pt x="139960" y="104458"/>
                  </a:cubicBezTo>
                  <a:cubicBezTo>
                    <a:pt x="136904" y="102626"/>
                    <a:pt x="127736" y="99571"/>
                    <a:pt x="127736" y="99571"/>
                  </a:cubicBezTo>
                  <a:lnTo>
                    <a:pt x="127736" y="99571"/>
                  </a:lnTo>
                  <a:cubicBezTo>
                    <a:pt x="126514" y="98961"/>
                    <a:pt x="125903" y="98961"/>
                    <a:pt x="124680" y="98350"/>
                  </a:cubicBezTo>
                  <a:cubicBezTo>
                    <a:pt x="121625" y="97128"/>
                    <a:pt x="119180" y="96517"/>
                    <a:pt x="116735" y="95906"/>
                  </a:cubicBezTo>
                  <a:cubicBezTo>
                    <a:pt x="113679" y="94684"/>
                    <a:pt x="110012" y="94074"/>
                    <a:pt x="106956" y="93463"/>
                  </a:cubicBezTo>
                  <a:cubicBezTo>
                    <a:pt x="104512" y="91019"/>
                    <a:pt x="102678" y="87354"/>
                    <a:pt x="101456" y="83689"/>
                  </a:cubicBezTo>
                  <a:cubicBezTo>
                    <a:pt x="114902" y="75748"/>
                    <a:pt x="124069" y="61698"/>
                    <a:pt x="124069" y="44593"/>
                  </a:cubicBezTo>
                  <a:cubicBezTo>
                    <a:pt x="124069" y="20159"/>
                    <a:pt x="103901" y="0"/>
                    <a:pt x="79453" y="0"/>
                  </a:cubicBezTo>
                  <a:cubicBezTo>
                    <a:pt x="55006" y="0"/>
                    <a:pt x="34837" y="20159"/>
                    <a:pt x="34837" y="44593"/>
                  </a:cubicBezTo>
                  <a:cubicBezTo>
                    <a:pt x="34837" y="61087"/>
                    <a:pt x="44005" y="75748"/>
                    <a:pt x="57451" y="83689"/>
                  </a:cubicBezTo>
                  <a:cubicBezTo>
                    <a:pt x="56229" y="87354"/>
                    <a:pt x="54395" y="91019"/>
                    <a:pt x="51950" y="94074"/>
                  </a:cubicBezTo>
                  <a:cubicBezTo>
                    <a:pt x="45838" y="95295"/>
                    <a:pt x="42171" y="95906"/>
                    <a:pt x="42171" y="95906"/>
                  </a:cubicBezTo>
                  <a:cubicBezTo>
                    <a:pt x="39727" y="96517"/>
                    <a:pt x="37282" y="97128"/>
                    <a:pt x="34226" y="98350"/>
                  </a:cubicBezTo>
                  <a:cubicBezTo>
                    <a:pt x="32392" y="98961"/>
                    <a:pt x="30559" y="99571"/>
                    <a:pt x="28726" y="100182"/>
                  </a:cubicBezTo>
                  <a:cubicBezTo>
                    <a:pt x="28726" y="100182"/>
                    <a:pt x="28726" y="100182"/>
                    <a:pt x="28726" y="100182"/>
                  </a:cubicBezTo>
                  <a:cubicBezTo>
                    <a:pt x="26892" y="100793"/>
                    <a:pt x="25058" y="102015"/>
                    <a:pt x="23225" y="102626"/>
                  </a:cubicBezTo>
                  <a:cubicBezTo>
                    <a:pt x="23225" y="102626"/>
                    <a:pt x="23225" y="102626"/>
                    <a:pt x="23225" y="102626"/>
                  </a:cubicBezTo>
                  <a:cubicBezTo>
                    <a:pt x="20780" y="103847"/>
                    <a:pt x="18335" y="105069"/>
                    <a:pt x="15891" y="106291"/>
                  </a:cubicBezTo>
                  <a:cubicBezTo>
                    <a:pt x="6112" y="111178"/>
                    <a:pt x="0" y="121563"/>
                    <a:pt x="0" y="132558"/>
                  </a:cubicBezTo>
                  <a:lnTo>
                    <a:pt x="0" y="140499"/>
                  </a:lnTo>
                  <a:cubicBezTo>
                    <a:pt x="0" y="147830"/>
                    <a:pt x="4278" y="154549"/>
                    <a:pt x="10390" y="158215"/>
                  </a:cubicBezTo>
                  <a:cubicBezTo>
                    <a:pt x="22614" y="164934"/>
                    <a:pt x="45227" y="172875"/>
                    <a:pt x="79453" y="172875"/>
                  </a:cubicBezTo>
                  <a:cubicBezTo>
                    <a:pt x="113679" y="172875"/>
                    <a:pt x="136293" y="164934"/>
                    <a:pt x="148517" y="158215"/>
                  </a:cubicBezTo>
                  <a:cubicBezTo>
                    <a:pt x="155239" y="154549"/>
                    <a:pt x="158907" y="147830"/>
                    <a:pt x="158907" y="140499"/>
                  </a:cubicBezTo>
                  <a:lnTo>
                    <a:pt x="158907" y="132558"/>
                  </a:lnTo>
                  <a:cubicBezTo>
                    <a:pt x="159518" y="121563"/>
                    <a:pt x="153406" y="111789"/>
                    <a:pt x="143627" y="106291"/>
                  </a:cubicBezTo>
                  <a:close/>
                  <a:moveTo>
                    <a:pt x="40338" y="45204"/>
                  </a:moveTo>
                  <a:cubicBezTo>
                    <a:pt x="40338" y="23213"/>
                    <a:pt x="58062" y="5498"/>
                    <a:pt x="80064" y="5498"/>
                  </a:cubicBezTo>
                  <a:cubicBezTo>
                    <a:pt x="102067" y="5498"/>
                    <a:pt x="119791" y="23213"/>
                    <a:pt x="119791" y="45204"/>
                  </a:cubicBezTo>
                  <a:cubicBezTo>
                    <a:pt x="119791" y="67195"/>
                    <a:pt x="102067" y="84911"/>
                    <a:pt x="80064" y="84911"/>
                  </a:cubicBezTo>
                  <a:cubicBezTo>
                    <a:pt x="58062" y="84911"/>
                    <a:pt x="40338" y="67195"/>
                    <a:pt x="40338" y="45204"/>
                  </a:cubicBezTo>
                  <a:close/>
                  <a:moveTo>
                    <a:pt x="54395" y="100182"/>
                  </a:moveTo>
                  <a:lnTo>
                    <a:pt x="54395" y="100182"/>
                  </a:lnTo>
                  <a:cubicBezTo>
                    <a:pt x="55006" y="100182"/>
                    <a:pt x="55006" y="100182"/>
                    <a:pt x="54395" y="100182"/>
                  </a:cubicBezTo>
                  <a:cubicBezTo>
                    <a:pt x="55006" y="100182"/>
                    <a:pt x="55006" y="100182"/>
                    <a:pt x="55006" y="100182"/>
                  </a:cubicBezTo>
                  <a:lnTo>
                    <a:pt x="55617" y="99571"/>
                  </a:lnTo>
                  <a:cubicBezTo>
                    <a:pt x="55617" y="99571"/>
                    <a:pt x="55617" y="99571"/>
                    <a:pt x="55617" y="99571"/>
                  </a:cubicBezTo>
                  <a:cubicBezTo>
                    <a:pt x="59285" y="95906"/>
                    <a:pt x="61729" y="91630"/>
                    <a:pt x="62951" y="87354"/>
                  </a:cubicBezTo>
                  <a:cubicBezTo>
                    <a:pt x="67841" y="89187"/>
                    <a:pt x="73342" y="90408"/>
                    <a:pt x="79453" y="90408"/>
                  </a:cubicBezTo>
                  <a:cubicBezTo>
                    <a:pt x="85565" y="90408"/>
                    <a:pt x="91066" y="89187"/>
                    <a:pt x="95955" y="87354"/>
                  </a:cubicBezTo>
                  <a:cubicBezTo>
                    <a:pt x="97177" y="91630"/>
                    <a:pt x="99622" y="95906"/>
                    <a:pt x="103289" y="99571"/>
                  </a:cubicBezTo>
                  <a:cubicBezTo>
                    <a:pt x="103289" y="99571"/>
                    <a:pt x="103289" y="99571"/>
                    <a:pt x="103289" y="99571"/>
                  </a:cubicBezTo>
                  <a:cubicBezTo>
                    <a:pt x="103289" y="99571"/>
                    <a:pt x="103901" y="99571"/>
                    <a:pt x="103901" y="100182"/>
                  </a:cubicBezTo>
                  <a:cubicBezTo>
                    <a:pt x="103901" y="100182"/>
                    <a:pt x="104512" y="100182"/>
                    <a:pt x="104512" y="100182"/>
                  </a:cubicBezTo>
                  <a:cubicBezTo>
                    <a:pt x="104512" y="100182"/>
                    <a:pt x="104512" y="100182"/>
                    <a:pt x="104512" y="100182"/>
                  </a:cubicBezTo>
                  <a:cubicBezTo>
                    <a:pt x="105734" y="100182"/>
                    <a:pt x="106956" y="100793"/>
                    <a:pt x="108179" y="100793"/>
                  </a:cubicBezTo>
                  <a:cubicBezTo>
                    <a:pt x="106956" y="111178"/>
                    <a:pt x="94733" y="119730"/>
                    <a:pt x="79453" y="119730"/>
                  </a:cubicBezTo>
                  <a:cubicBezTo>
                    <a:pt x="64174" y="119730"/>
                    <a:pt x="52561" y="111789"/>
                    <a:pt x="50728" y="101404"/>
                  </a:cubicBezTo>
                  <a:cubicBezTo>
                    <a:pt x="51950" y="100182"/>
                    <a:pt x="53173" y="100182"/>
                    <a:pt x="54395" y="100182"/>
                  </a:cubicBezTo>
                  <a:close/>
                  <a:moveTo>
                    <a:pt x="146072" y="153939"/>
                  </a:moveTo>
                  <a:cubicBezTo>
                    <a:pt x="136293" y="159436"/>
                    <a:pt x="114902" y="167988"/>
                    <a:pt x="79453" y="167988"/>
                  </a:cubicBezTo>
                  <a:cubicBezTo>
                    <a:pt x="44616" y="167988"/>
                    <a:pt x="22614" y="159436"/>
                    <a:pt x="12835" y="153939"/>
                  </a:cubicBezTo>
                  <a:cubicBezTo>
                    <a:pt x="8556" y="151495"/>
                    <a:pt x="5500" y="146608"/>
                    <a:pt x="5500" y="141110"/>
                  </a:cubicBezTo>
                  <a:lnTo>
                    <a:pt x="5500" y="133169"/>
                  </a:lnTo>
                  <a:cubicBezTo>
                    <a:pt x="5500" y="124006"/>
                    <a:pt x="10390" y="116065"/>
                    <a:pt x="18335" y="111789"/>
                  </a:cubicBezTo>
                  <a:cubicBezTo>
                    <a:pt x="23836" y="108734"/>
                    <a:pt x="29948" y="106291"/>
                    <a:pt x="35448" y="104458"/>
                  </a:cubicBezTo>
                  <a:cubicBezTo>
                    <a:pt x="38504" y="103237"/>
                    <a:pt x="40949" y="102626"/>
                    <a:pt x="43394" y="102015"/>
                  </a:cubicBezTo>
                  <a:lnTo>
                    <a:pt x="44616" y="102015"/>
                  </a:lnTo>
                  <a:cubicBezTo>
                    <a:pt x="47061" y="114843"/>
                    <a:pt x="61729" y="125228"/>
                    <a:pt x="78842" y="125228"/>
                  </a:cubicBezTo>
                  <a:cubicBezTo>
                    <a:pt x="95955" y="125228"/>
                    <a:pt x="110623" y="114843"/>
                    <a:pt x="113068" y="102015"/>
                  </a:cubicBezTo>
                  <a:cubicBezTo>
                    <a:pt x="113679" y="102015"/>
                    <a:pt x="113679" y="102015"/>
                    <a:pt x="114291" y="102626"/>
                  </a:cubicBezTo>
                  <a:cubicBezTo>
                    <a:pt x="116735" y="103237"/>
                    <a:pt x="119180" y="103847"/>
                    <a:pt x="122236" y="105069"/>
                  </a:cubicBezTo>
                  <a:cubicBezTo>
                    <a:pt x="128348" y="106902"/>
                    <a:pt x="133848" y="109345"/>
                    <a:pt x="139349" y="112400"/>
                  </a:cubicBezTo>
                  <a:cubicBezTo>
                    <a:pt x="147294" y="116676"/>
                    <a:pt x="152184" y="124617"/>
                    <a:pt x="152184" y="133780"/>
                  </a:cubicBezTo>
                  <a:lnTo>
                    <a:pt x="152184" y="141721"/>
                  </a:lnTo>
                  <a:cubicBezTo>
                    <a:pt x="153406" y="146608"/>
                    <a:pt x="150962" y="150884"/>
                    <a:pt x="146072" y="153939"/>
                  </a:cubicBezTo>
                  <a:close/>
                </a:path>
              </a:pathLst>
            </a:custGeom>
            <a:solidFill>
              <a:srgbClr val="2473B9"/>
            </a:solidFill>
            <a:ln w="61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</p:grpSp>
      <p:grpSp>
        <p:nvGrpSpPr>
          <p:cNvPr id="49" name="Group 48">
            <a:extLst>
              <a:ext uri="{FF2B5EF4-FFF2-40B4-BE49-F238E27FC236}">
                <a16:creationId xmlns:a16="http://schemas.microsoft.com/office/drawing/2014/main" id="{2A437866-B701-6948-9DFC-F9B080C4711A}"/>
              </a:ext>
            </a:extLst>
          </p:cNvPr>
          <p:cNvGrpSpPr/>
          <p:nvPr/>
        </p:nvGrpSpPr>
        <p:grpSpPr>
          <a:xfrm>
            <a:off x="4719159" y="4596237"/>
            <a:ext cx="853440" cy="853440"/>
            <a:chOff x="4243624" y="656353"/>
            <a:chExt cx="640080" cy="640080"/>
          </a:xfrm>
        </p:grpSpPr>
        <p:sp>
          <p:nvSpPr>
            <p:cNvPr id="50" name="Oval 49">
              <a:extLst>
                <a:ext uri="{FF2B5EF4-FFF2-40B4-BE49-F238E27FC236}">
                  <a16:creationId xmlns:a16="http://schemas.microsoft.com/office/drawing/2014/main" id="{0C403788-5BE1-1645-B4FA-58C992EBCCF7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243624" y="656353"/>
              <a:ext cx="640080" cy="64008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51" name="Graphic 11">
              <a:extLst>
                <a:ext uri="{FF2B5EF4-FFF2-40B4-BE49-F238E27FC236}">
                  <a16:creationId xmlns:a16="http://schemas.microsoft.com/office/drawing/2014/main" id="{17FC3B35-8506-234A-BB30-7AB5DB7256C1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378703" y="775225"/>
              <a:ext cx="369923" cy="402336"/>
            </a:xfrm>
            <a:custGeom>
              <a:avLst/>
              <a:gdLst>
                <a:gd name="connsiteX0" fmla="*/ 143627 w 158948"/>
                <a:gd name="connsiteY0" fmla="*/ 106291 h 172875"/>
                <a:gd name="connsiteX1" fmla="*/ 139960 w 158948"/>
                <a:gd name="connsiteY1" fmla="*/ 104458 h 172875"/>
                <a:gd name="connsiteX2" fmla="*/ 127736 w 158948"/>
                <a:gd name="connsiteY2" fmla="*/ 99571 h 172875"/>
                <a:gd name="connsiteX3" fmla="*/ 127736 w 158948"/>
                <a:gd name="connsiteY3" fmla="*/ 99571 h 172875"/>
                <a:gd name="connsiteX4" fmla="*/ 124680 w 158948"/>
                <a:gd name="connsiteY4" fmla="*/ 98350 h 172875"/>
                <a:gd name="connsiteX5" fmla="*/ 116735 w 158948"/>
                <a:gd name="connsiteY5" fmla="*/ 95906 h 172875"/>
                <a:gd name="connsiteX6" fmla="*/ 106956 w 158948"/>
                <a:gd name="connsiteY6" fmla="*/ 93463 h 172875"/>
                <a:gd name="connsiteX7" fmla="*/ 101456 w 158948"/>
                <a:gd name="connsiteY7" fmla="*/ 83689 h 172875"/>
                <a:gd name="connsiteX8" fmla="*/ 124069 w 158948"/>
                <a:gd name="connsiteY8" fmla="*/ 44593 h 172875"/>
                <a:gd name="connsiteX9" fmla="*/ 79453 w 158948"/>
                <a:gd name="connsiteY9" fmla="*/ 0 h 172875"/>
                <a:gd name="connsiteX10" fmla="*/ 34837 w 158948"/>
                <a:gd name="connsiteY10" fmla="*/ 44593 h 172875"/>
                <a:gd name="connsiteX11" fmla="*/ 57451 w 158948"/>
                <a:gd name="connsiteY11" fmla="*/ 83689 h 172875"/>
                <a:gd name="connsiteX12" fmla="*/ 51950 w 158948"/>
                <a:gd name="connsiteY12" fmla="*/ 94074 h 172875"/>
                <a:gd name="connsiteX13" fmla="*/ 42171 w 158948"/>
                <a:gd name="connsiteY13" fmla="*/ 95906 h 172875"/>
                <a:gd name="connsiteX14" fmla="*/ 34226 w 158948"/>
                <a:gd name="connsiteY14" fmla="*/ 98350 h 172875"/>
                <a:gd name="connsiteX15" fmla="*/ 28726 w 158948"/>
                <a:gd name="connsiteY15" fmla="*/ 100182 h 172875"/>
                <a:gd name="connsiteX16" fmla="*/ 28726 w 158948"/>
                <a:gd name="connsiteY16" fmla="*/ 100182 h 172875"/>
                <a:gd name="connsiteX17" fmla="*/ 23225 w 158948"/>
                <a:gd name="connsiteY17" fmla="*/ 102626 h 172875"/>
                <a:gd name="connsiteX18" fmla="*/ 23225 w 158948"/>
                <a:gd name="connsiteY18" fmla="*/ 102626 h 172875"/>
                <a:gd name="connsiteX19" fmla="*/ 15891 w 158948"/>
                <a:gd name="connsiteY19" fmla="*/ 106291 h 172875"/>
                <a:gd name="connsiteX20" fmla="*/ 0 w 158948"/>
                <a:gd name="connsiteY20" fmla="*/ 132558 h 172875"/>
                <a:gd name="connsiteX21" fmla="*/ 0 w 158948"/>
                <a:gd name="connsiteY21" fmla="*/ 140499 h 172875"/>
                <a:gd name="connsiteX22" fmla="*/ 10390 w 158948"/>
                <a:gd name="connsiteY22" fmla="*/ 158215 h 172875"/>
                <a:gd name="connsiteX23" fmla="*/ 79453 w 158948"/>
                <a:gd name="connsiteY23" fmla="*/ 172875 h 172875"/>
                <a:gd name="connsiteX24" fmla="*/ 148517 w 158948"/>
                <a:gd name="connsiteY24" fmla="*/ 158215 h 172875"/>
                <a:gd name="connsiteX25" fmla="*/ 158907 w 158948"/>
                <a:gd name="connsiteY25" fmla="*/ 140499 h 172875"/>
                <a:gd name="connsiteX26" fmla="*/ 158907 w 158948"/>
                <a:gd name="connsiteY26" fmla="*/ 132558 h 172875"/>
                <a:gd name="connsiteX27" fmla="*/ 143627 w 158948"/>
                <a:gd name="connsiteY27" fmla="*/ 106291 h 172875"/>
                <a:gd name="connsiteX28" fmla="*/ 40338 w 158948"/>
                <a:gd name="connsiteY28" fmla="*/ 45204 h 172875"/>
                <a:gd name="connsiteX29" fmla="*/ 80064 w 158948"/>
                <a:gd name="connsiteY29" fmla="*/ 5498 h 172875"/>
                <a:gd name="connsiteX30" fmla="*/ 119791 w 158948"/>
                <a:gd name="connsiteY30" fmla="*/ 45204 h 172875"/>
                <a:gd name="connsiteX31" fmla="*/ 80064 w 158948"/>
                <a:gd name="connsiteY31" fmla="*/ 84911 h 172875"/>
                <a:gd name="connsiteX32" fmla="*/ 40338 w 158948"/>
                <a:gd name="connsiteY32" fmla="*/ 45204 h 172875"/>
                <a:gd name="connsiteX33" fmla="*/ 54395 w 158948"/>
                <a:gd name="connsiteY33" fmla="*/ 100182 h 172875"/>
                <a:gd name="connsiteX34" fmla="*/ 54395 w 158948"/>
                <a:gd name="connsiteY34" fmla="*/ 100182 h 172875"/>
                <a:gd name="connsiteX35" fmla="*/ 54395 w 158948"/>
                <a:gd name="connsiteY35" fmla="*/ 100182 h 172875"/>
                <a:gd name="connsiteX36" fmla="*/ 55006 w 158948"/>
                <a:gd name="connsiteY36" fmla="*/ 100182 h 172875"/>
                <a:gd name="connsiteX37" fmla="*/ 55617 w 158948"/>
                <a:gd name="connsiteY37" fmla="*/ 99571 h 172875"/>
                <a:gd name="connsiteX38" fmla="*/ 55617 w 158948"/>
                <a:gd name="connsiteY38" fmla="*/ 99571 h 172875"/>
                <a:gd name="connsiteX39" fmla="*/ 62951 w 158948"/>
                <a:gd name="connsiteY39" fmla="*/ 87354 h 172875"/>
                <a:gd name="connsiteX40" fmla="*/ 79453 w 158948"/>
                <a:gd name="connsiteY40" fmla="*/ 90408 h 172875"/>
                <a:gd name="connsiteX41" fmla="*/ 95955 w 158948"/>
                <a:gd name="connsiteY41" fmla="*/ 87354 h 172875"/>
                <a:gd name="connsiteX42" fmla="*/ 103289 w 158948"/>
                <a:gd name="connsiteY42" fmla="*/ 99571 h 172875"/>
                <a:gd name="connsiteX43" fmla="*/ 103289 w 158948"/>
                <a:gd name="connsiteY43" fmla="*/ 99571 h 172875"/>
                <a:gd name="connsiteX44" fmla="*/ 103901 w 158948"/>
                <a:gd name="connsiteY44" fmla="*/ 100182 h 172875"/>
                <a:gd name="connsiteX45" fmla="*/ 104512 w 158948"/>
                <a:gd name="connsiteY45" fmla="*/ 100182 h 172875"/>
                <a:gd name="connsiteX46" fmla="*/ 104512 w 158948"/>
                <a:gd name="connsiteY46" fmla="*/ 100182 h 172875"/>
                <a:gd name="connsiteX47" fmla="*/ 108179 w 158948"/>
                <a:gd name="connsiteY47" fmla="*/ 100793 h 172875"/>
                <a:gd name="connsiteX48" fmla="*/ 79453 w 158948"/>
                <a:gd name="connsiteY48" fmla="*/ 119730 h 172875"/>
                <a:gd name="connsiteX49" fmla="*/ 50728 w 158948"/>
                <a:gd name="connsiteY49" fmla="*/ 101404 h 172875"/>
                <a:gd name="connsiteX50" fmla="*/ 54395 w 158948"/>
                <a:gd name="connsiteY50" fmla="*/ 100182 h 172875"/>
                <a:gd name="connsiteX51" fmla="*/ 146072 w 158948"/>
                <a:gd name="connsiteY51" fmla="*/ 153939 h 172875"/>
                <a:gd name="connsiteX52" fmla="*/ 79453 w 158948"/>
                <a:gd name="connsiteY52" fmla="*/ 167988 h 172875"/>
                <a:gd name="connsiteX53" fmla="*/ 12835 w 158948"/>
                <a:gd name="connsiteY53" fmla="*/ 153939 h 172875"/>
                <a:gd name="connsiteX54" fmla="*/ 5500 w 158948"/>
                <a:gd name="connsiteY54" fmla="*/ 141110 h 172875"/>
                <a:gd name="connsiteX55" fmla="*/ 5500 w 158948"/>
                <a:gd name="connsiteY55" fmla="*/ 133169 h 172875"/>
                <a:gd name="connsiteX56" fmla="*/ 18335 w 158948"/>
                <a:gd name="connsiteY56" fmla="*/ 111789 h 172875"/>
                <a:gd name="connsiteX57" fmla="*/ 35448 w 158948"/>
                <a:gd name="connsiteY57" fmla="*/ 104458 h 172875"/>
                <a:gd name="connsiteX58" fmla="*/ 43394 w 158948"/>
                <a:gd name="connsiteY58" fmla="*/ 102015 h 172875"/>
                <a:gd name="connsiteX59" fmla="*/ 44616 w 158948"/>
                <a:gd name="connsiteY59" fmla="*/ 102015 h 172875"/>
                <a:gd name="connsiteX60" fmla="*/ 78842 w 158948"/>
                <a:gd name="connsiteY60" fmla="*/ 125228 h 172875"/>
                <a:gd name="connsiteX61" fmla="*/ 113068 w 158948"/>
                <a:gd name="connsiteY61" fmla="*/ 102015 h 172875"/>
                <a:gd name="connsiteX62" fmla="*/ 114291 w 158948"/>
                <a:gd name="connsiteY62" fmla="*/ 102626 h 172875"/>
                <a:gd name="connsiteX63" fmla="*/ 122236 w 158948"/>
                <a:gd name="connsiteY63" fmla="*/ 105069 h 172875"/>
                <a:gd name="connsiteX64" fmla="*/ 139349 w 158948"/>
                <a:gd name="connsiteY64" fmla="*/ 112400 h 172875"/>
                <a:gd name="connsiteX65" fmla="*/ 152184 w 158948"/>
                <a:gd name="connsiteY65" fmla="*/ 133780 h 172875"/>
                <a:gd name="connsiteX66" fmla="*/ 152184 w 158948"/>
                <a:gd name="connsiteY66" fmla="*/ 141721 h 172875"/>
                <a:gd name="connsiteX67" fmla="*/ 146072 w 158948"/>
                <a:gd name="connsiteY67" fmla="*/ 153939 h 172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158948" h="172875">
                  <a:moveTo>
                    <a:pt x="143627" y="106291"/>
                  </a:moveTo>
                  <a:cubicBezTo>
                    <a:pt x="142405" y="105680"/>
                    <a:pt x="141182" y="105069"/>
                    <a:pt x="139960" y="104458"/>
                  </a:cubicBezTo>
                  <a:cubicBezTo>
                    <a:pt x="136904" y="102626"/>
                    <a:pt x="127736" y="99571"/>
                    <a:pt x="127736" y="99571"/>
                  </a:cubicBezTo>
                  <a:lnTo>
                    <a:pt x="127736" y="99571"/>
                  </a:lnTo>
                  <a:cubicBezTo>
                    <a:pt x="126514" y="98961"/>
                    <a:pt x="125903" y="98961"/>
                    <a:pt x="124680" y="98350"/>
                  </a:cubicBezTo>
                  <a:cubicBezTo>
                    <a:pt x="121625" y="97128"/>
                    <a:pt x="119180" y="96517"/>
                    <a:pt x="116735" y="95906"/>
                  </a:cubicBezTo>
                  <a:cubicBezTo>
                    <a:pt x="113679" y="94684"/>
                    <a:pt x="110012" y="94074"/>
                    <a:pt x="106956" y="93463"/>
                  </a:cubicBezTo>
                  <a:cubicBezTo>
                    <a:pt x="104512" y="91019"/>
                    <a:pt x="102678" y="87354"/>
                    <a:pt x="101456" y="83689"/>
                  </a:cubicBezTo>
                  <a:cubicBezTo>
                    <a:pt x="114902" y="75748"/>
                    <a:pt x="124069" y="61698"/>
                    <a:pt x="124069" y="44593"/>
                  </a:cubicBezTo>
                  <a:cubicBezTo>
                    <a:pt x="124069" y="20159"/>
                    <a:pt x="103901" y="0"/>
                    <a:pt x="79453" y="0"/>
                  </a:cubicBezTo>
                  <a:cubicBezTo>
                    <a:pt x="55006" y="0"/>
                    <a:pt x="34837" y="20159"/>
                    <a:pt x="34837" y="44593"/>
                  </a:cubicBezTo>
                  <a:cubicBezTo>
                    <a:pt x="34837" y="61087"/>
                    <a:pt x="44005" y="75748"/>
                    <a:pt x="57451" y="83689"/>
                  </a:cubicBezTo>
                  <a:cubicBezTo>
                    <a:pt x="56229" y="87354"/>
                    <a:pt x="54395" y="91019"/>
                    <a:pt x="51950" y="94074"/>
                  </a:cubicBezTo>
                  <a:cubicBezTo>
                    <a:pt x="45838" y="95295"/>
                    <a:pt x="42171" y="95906"/>
                    <a:pt x="42171" y="95906"/>
                  </a:cubicBezTo>
                  <a:cubicBezTo>
                    <a:pt x="39727" y="96517"/>
                    <a:pt x="37282" y="97128"/>
                    <a:pt x="34226" y="98350"/>
                  </a:cubicBezTo>
                  <a:cubicBezTo>
                    <a:pt x="32392" y="98961"/>
                    <a:pt x="30559" y="99571"/>
                    <a:pt x="28726" y="100182"/>
                  </a:cubicBezTo>
                  <a:cubicBezTo>
                    <a:pt x="28726" y="100182"/>
                    <a:pt x="28726" y="100182"/>
                    <a:pt x="28726" y="100182"/>
                  </a:cubicBezTo>
                  <a:cubicBezTo>
                    <a:pt x="26892" y="100793"/>
                    <a:pt x="25058" y="102015"/>
                    <a:pt x="23225" y="102626"/>
                  </a:cubicBezTo>
                  <a:cubicBezTo>
                    <a:pt x="23225" y="102626"/>
                    <a:pt x="23225" y="102626"/>
                    <a:pt x="23225" y="102626"/>
                  </a:cubicBezTo>
                  <a:cubicBezTo>
                    <a:pt x="20780" y="103847"/>
                    <a:pt x="18335" y="105069"/>
                    <a:pt x="15891" y="106291"/>
                  </a:cubicBezTo>
                  <a:cubicBezTo>
                    <a:pt x="6112" y="111178"/>
                    <a:pt x="0" y="121563"/>
                    <a:pt x="0" y="132558"/>
                  </a:cubicBezTo>
                  <a:lnTo>
                    <a:pt x="0" y="140499"/>
                  </a:lnTo>
                  <a:cubicBezTo>
                    <a:pt x="0" y="147830"/>
                    <a:pt x="4278" y="154549"/>
                    <a:pt x="10390" y="158215"/>
                  </a:cubicBezTo>
                  <a:cubicBezTo>
                    <a:pt x="22614" y="164934"/>
                    <a:pt x="45227" y="172875"/>
                    <a:pt x="79453" y="172875"/>
                  </a:cubicBezTo>
                  <a:cubicBezTo>
                    <a:pt x="113679" y="172875"/>
                    <a:pt x="136293" y="164934"/>
                    <a:pt x="148517" y="158215"/>
                  </a:cubicBezTo>
                  <a:cubicBezTo>
                    <a:pt x="155239" y="154549"/>
                    <a:pt x="158907" y="147830"/>
                    <a:pt x="158907" y="140499"/>
                  </a:cubicBezTo>
                  <a:lnTo>
                    <a:pt x="158907" y="132558"/>
                  </a:lnTo>
                  <a:cubicBezTo>
                    <a:pt x="159518" y="121563"/>
                    <a:pt x="153406" y="111789"/>
                    <a:pt x="143627" y="106291"/>
                  </a:cubicBezTo>
                  <a:close/>
                  <a:moveTo>
                    <a:pt x="40338" y="45204"/>
                  </a:moveTo>
                  <a:cubicBezTo>
                    <a:pt x="40338" y="23213"/>
                    <a:pt x="58062" y="5498"/>
                    <a:pt x="80064" y="5498"/>
                  </a:cubicBezTo>
                  <a:cubicBezTo>
                    <a:pt x="102067" y="5498"/>
                    <a:pt x="119791" y="23213"/>
                    <a:pt x="119791" y="45204"/>
                  </a:cubicBezTo>
                  <a:cubicBezTo>
                    <a:pt x="119791" y="67195"/>
                    <a:pt x="102067" y="84911"/>
                    <a:pt x="80064" y="84911"/>
                  </a:cubicBezTo>
                  <a:cubicBezTo>
                    <a:pt x="58062" y="84911"/>
                    <a:pt x="40338" y="67195"/>
                    <a:pt x="40338" y="45204"/>
                  </a:cubicBezTo>
                  <a:close/>
                  <a:moveTo>
                    <a:pt x="54395" y="100182"/>
                  </a:moveTo>
                  <a:lnTo>
                    <a:pt x="54395" y="100182"/>
                  </a:lnTo>
                  <a:cubicBezTo>
                    <a:pt x="55006" y="100182"/>
                    <a:pt x="55006" y="100182"/>
                    <a:pt x="54395" y="100182"/>
                  </a:cubicBezTo>
                  <a:cubicBezTo>
                    <a:pt x="55006" y="100182"/>
                    <a:pt x="55006" y="100182"/>
                    <a:pt x="55006" y="100182"/>
                  </a:cubicBezTo>
                  <a:lnTo>
                    <a:pt x="55617" y="99571"/>
                  </a:lnTo>
                  <a:cubicBezTo>
                    <a:pt x="55617" y="99571"/>
                    <a:pt x="55617" y="99571"/>
                    <a:pt x="55617" y="99571"/>
                  </a:cubicBezTo>
                  <a:cubicBezTo>
                    <a:pt x="59285" y="95906"/>
                    <a:pt x="61729" y="91630"/>
                    <a:pt x="62951" y="87354"/>
                  </a:cubicBezTo>
                  <a:cubicBezTo>
                    <a:pt x="67841" y="89187"/>
                    <a:pt x="73342" y="90408"/>
                    <a:pt x="79453" y="90408"/>
                  </a:cubicBezTo>
                  <a:cubicBezTo>
                    <a:pt x="85565" y="90408"/>
                    <a:pt x="91066" y="89187"/>
                    <a:pt x="95955" y="87354"/>
                  </a:cubicBezTo>
                  <a:cubicBezTo>
                    <a:pt x="97177" y="91630"/>
                    <a:pt x="99622" y="95906"/>
                    <a:pt x="103289" y="99571"/>
                  </a:cubicBezTo>
                  <a:cubicBezTo>
                    <a:pt x="103289" y="99571"/>
                    <a:pt x="103289" y="99571"/>
                    <a:pt x="103289" y="99571"/>
                  </a:cubicBezTo>
                  <a:cubicBezTo>
                    <a:pt x="103289" y="99571"/>
                    <a:pt x="103901" y="99571"/>
                    <a:pt x="103901" y="100182"/>
                  </a:cubicBezTo>
                  <a:cubicBezTo>
                    <a:pt x="103901" y="100182"/>
                    <a:pt x="104512" y="100182"/>
                    <a:pt x="104512" y="100182"/>
                  </a:cubicBezTo>
                  <a:cubicBezTo>
                    <a:pt x="104512" y="100182"/>
                    <a:pt x="104512" y="100182"/>
                    <a:pt x="104512" y="100182"/>
                  </a:cubicBezTo>
                  <a:cubicBezTo>
                    <a:pt x="105734" y="100182"/>
                    <a:pt x="106956" y="100793"/>
                    <a:pt x="108179" y="100793"/>
                  </a:cubicBezTo>
                  <a:cubicBezTo>
                    <a:pt x="106956" y="111178"/>
                    <a:pt x="94733" y="119730"/>
                    <a:pt x="79453" y="119730"/>
                  </a:cubicBezTo>
                  <a:cubicBezTo>
                    <a:pt x="64174" y="119730"/>
                    <a:pt x="52561" y="111789"/>
                    <a:pt x="50728" y="101404"/>
                  </a:cubicBezTo>
                  <a:cubicBezTo>
                    <a:pt x="51950" y="100182"/>
                    <a:pt x="53173" y="100182"/>
                    <a:pt x="54395" y="100182"/>
                  </a:cubicBezTo>
                  <a:close/>
                  <a:moveTo>
                    <a:pt x="146072" y="153939"/>
                  </a:moveTo>
                  <a:cubicBezTo>
                    <a:pt x="136293" y="159436"/>
                    <a:pt x="114902" y="167988"/>
                    <a:pt x="79453" y="167988"/>
                  </a:cubicBezTo>
                  <a:cubicBezTo>
                    <a:pt x="44616" y="167988"/>
                    <a:pt x="22614" y="159436"/>
                    <a:pt x="12835" y="153939"/>
                  </a:cubicBezTo>
                  <a:cubicBezTo>
                    <a:pt x="8556" y="151495"/>
                    <a:pt x="5500" y="146608"/>
                    <a:pt x="5500" y="141110"/>
                  </a:cubicBezTo>
                  <a:lnTo>
                    <a:pt x="5500" y="133169"/>
                  </a:lnTo>
                  <a:cubicBezTo>
                    <a:pt x="5500" y="124006"/>
                    <a:pt x="10390" y="116065"/>
                    <a:pt x="18335" y="111789"/>
                  </a:cubicBezTo>
                  <a:cubicBezTo>
                    <a:pt x="23836" y="108734"/>
                    <a:pt x="29948" y="106291"/>
                    <a:pt x="35448" y="104458"/>
                  </a:cubicBezTo>
                  <a:cubicBezTo>
                    <a:pt x="38504" y="103237"/>
                    <a:pt x="40949" y="102626"/>
                    <a:pt x="43394" y="102015"/>
                  </a:cubicBezTo>
                  <a:lnTo>
                    <a:pt x="44616" y="102015"/>
                  </a:lnTo>
                  <a:cubicBezTo>
                    <a:pt x="47061" y="114843"/>
                    <a:pt x="61729" y="125228"/>
                    <a:pt x="78842" y="125228"/>
                  </a:cubicBezTo>
                  <a:cubicBezTo>
                    <a:pt x="95955" y="125228"/>
                    <a:pt x="110623" y="114843"/>
                    <a:pt x="113068" y="102015"/>
                  </a:cubicBezTo>
                  <a:cubicBezTo>
                    <a:pt x="113679" y="102015"/>
                    <a:pt x="113679" y="102015"/>
                    <a:pt x="114291" y="102626"/>
                  </a:cubicBezTo>
                  <a:cubicBezTo>
                    <a:pt x="116735" y="103237"/>
                    <a:pt x="119180" y="103847"/>
                    <a:pt x="122236" y="105069"/>
                  </a:cubicBezTo>
                  <a:cubicBezTo>
                    <a:pt x="128348" y="106902"/>
                    <a:pt x="133848" y="109345"/>
                    <a:pt x="139349" y="112400"/>
                  </a:cubicBezTo>
                  <a:cubicBezTo>
                    <a:pt x="147294" y="116676"/>
                    <a:pt x="152184" y="124617"/>
                    <a:pt x="152184" y="133780"/>
                  </a:cubicBezTo>
                  <a:lnTo>
                    <a:pt x="152184" y="141721"/>
                  </a:lnTo>
                  <a:cubicBezTo>
                    <a:pt x="153406" y="146608"/>
                    <a:pt x="150962" y="150884"/>
                    <a:pt x="146072" y="153939"/>
                  </a:cubicBezTo>
                  <a:close/>
                </a:path>
              </a:pathLst>
            </a:custGeom>
            <a:solidFill>
              <a:srgbClr val="2473B9"/>
            </a:solidFill>
            <a:ln w="61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</p:grpSp>
      <p:grpSp>
        <p:nvGrpSpPr>
          <p:cNvPr id="52" name="Group 51">
            <a:extLst>
              <a:ext uri="{FF2B5EF4-FFF2-40B4-BE49-F238E27FC236}">
                <a16:creationId xmlns:a16="http://schemas.microsoft.com/office/drawing/2014/main" id="{FC6DB9B0-9A0B-7343-BB40-7651122A208C}"/>
              </a:ext>
            </a:extLst>
          </p:cNvPr>
          <p:cNvGrpSpPr/>
          <p:nvPr/>
        </p:nvGrpSpPr>
        <p:grpSpPr>
          <a:xfrm>
            <a:off x="846452" y="4596237"/>
            <a:ext cx="853440" cy="853440"/>
            <a:chOff x="4243624" y="656353"/>
            <a:chExt cx="640080" cy="640080"/>
          </a:xfrm>
        </p:grpSpPr>
        <p:sp>
          <p:nvSpPr>
            <p:cNvPr id="53" name="Oval 52">
              <a:extLst>
                <a:ext uri="{FF2B5EF4-FFF2-40B4-BE49-F238E27FC236}">
                  <a16:creationId xmlns:a16="http://schemas.microsoft.com/office/drawing/2014/main" id="{C75FCF36-9030-F445-BB1C-2F51B92262FE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243624" y="656353"/>
              <a:ext cx="640080" cy="64008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54" name="Graphic 11">
              <a:extLst>
                <a:ext uri="{FF2B5EF4-FFF2-40B4-BE49-F238E27FC236}">
                  <a16:creationId xmlns:a16="http://schemas.microsoft.com/office/drawing/2014/main" id="{6661CB87-9C55-E142-BED5-FC333460D603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378703" y="775225"/>
              <a:ext cx="369923" cy="402336"/>
            </a:xfrm>
            <a:custGeom>
              <a:avLst/>
              <a:gdLst>
                <a:gd name="connsiteX0" fmla="*/ 143627 w 158948"/>
                <a:gd name="connsiteY0" fmla="*/ 106291 h 172875"/>
                <a:gd name="connsiteX1" fmla="*/ 139960 w 158948"/>
                <a:gd name="connsiteY1" fmla="*/ 104458 h 172875"/>
                <a:gd name="connsiteX2" fmla="*/ 127736 w 158948"/>
                <a:gd name="connsiteY2" fmla="*/ 99571 h 172875"/>
                <a:gd name="connsiteX3" fmla="*/ 127736 w 158948"/>
                <a:gd name="connsiteY3" fmla="*/ 99571 h 172875"/>
                <a:gd name="connsiteX4" fmla="*/ 124680 w 158948"/>
                <a:gd name="connsiteY4" fmla="*/ 98350 h 172875"/>
                <a:gd name="connsiteX5" fmla="*/ 116735 w 158948"/>
                <a:gd name="connsiteY5" fmla="*/ 95906 h 172875"/>
                <a:gd name="connsiteX6" fmla="*/ 106956 w 158948"/>
                <a:gd name="connsiteY6" fmla="*/ 93463 h 172875"/>
                <a:gd name="connsiteX7" fmla="*/ 101456 w 158948"/>
                <a:gd name="connsiteY7" fmla="*/ 83689 h 172875"/>
                <a:gd name="connsiteX8" fmla="*/ 124069 w 158948"/>
                <a:gd name="connsiteY8" fmla="*/ 44593 h 172875"/>
                <a:gd name="connsiteX9" fmla="*/ 79453 w 158948"/>
                <a:gd name="connsiteY9" fmla="*/ 0 h 172875"/>
                <a:gd name="connsiteX10" fmla="*/ 34837 w 158948"/>
                <a:gd name="connsiteY10" fmla="*/ 44593 h 172875"/>
                <a:gd name="connsiteX11" fmla="*/ 57451 w 158948"/>
                <a:gd name="connsiteY11" fmla="*/ 83689 h 172875"/>
                <a:gd name="connsiteX12" fmla="*/ 51950 w 158948"/>
                <a:gd name="connsiteY12" fmla="*/ 94074 h 172875"/>
                <a:gd name="connsiteX13" fmla="*/ 42171 w 158948"/>
                <a:gd name="connsiteY13" fmla="*/ 95906 h 172875"/>
                <a:gd name="connsiteX14" fmla="*/ 34226 w 158948"/>
                <a:gd name="connsiteY14" fmla="*/ 98350 h 172875"/>
                <a:gd name="connsiteX15" fmla="*/ 28726 w 158948"/>
                <a:gd name="connsiteY15" fmla="*/ 100182 h 172875"/>
                <a:gd name="connsiteX16" fmla="*/ 28726 w 158948"/>
                <a:gd name="connsiteY16" fmla="*/ 100182 h 172875"/>
                <a:gd name="connsiteX17" fmla="*/ 23225 w 158948"/>
                <a:gd name="connsiteY17" fmla="*/ 102626 h 172875"/>
                <a:gd name="connsiteX18" fmla="*/ 23225 w 158948"/>
                <a:gd name="connsiteY18" fmla="*/ 102626 h 172875"/>
                <a:gd name="connsiteX19" fmla="*/ 15891 w 158948"/>
                <a:gd name="connsiteY19" fmla="*/ 106291 h 172875"/>
                <a:gd name="connsiteX20" fmla="*/ 0 w 158948"/>
                <a:gd name="connsiteY20" fmla="*/ 132558 h 172875"/>
                <a:gd name="connsiteX21" fmla="*/ 0 w 158948"/>
                <a:gd name="connsiteY21" fmla="*/ 140499 h 172875"/>
                <a:gd name="connsiteX22" fmla="*/ 10390 w 158948"/>
                <a:gd name="connsiteY22" fmla="*/ 158215 h 172875"/>
                <a:gd name="connsiteX23" fmla="*/ 79453 w 158948"/>
                <a:gd name="connsiteY23" fmla="*/ 172875 h 172875"/>
                <a:gd name="connsiteX24" fmla="*/ 148517 w 158948"/>
                <a:gd name="connsiteY24" fmla="*/ 158215 h 172875"/>
                <a:gd name="connsiteX25" fmla="*/ 158907 w 158948"/>
                <a:gd name="connsiteY25" fmla="*/ 140499 h 172875"/>
                <a:gd name="connsiteX26" fmla="*/ 158907 w 158948"/>
                <a:gd name="connsiteY26" fmla="*/ 132558 h 172875"/>
                <a:gd name="connsiteX27" fmla="*/ 143627 w 158948"/>
                <a:gd name="connsiteY27" fmla="*/ 106291 h 172875"/>
                <a:gd name="connsiteX28" fmla="*/ 40338 w 158948"/>
                <a:gd name="connsiteY28" fmla="*/ 45204 h 172875"/>
                <a:gd name="connsiteX29" fmla="*/ 80064 w 158948"/>
                <a:gd name="connsiteY29" fmla="*/ 5498 h 172875"/>
                <a:gd name="connsiteX30" fmla="*/ 119791 w 158948"/>
                <a:gd name="connsiteY30" fmla="*/ 45204 h 172875"/>
                <a:gd name="connsiteX31" fmla="*/ 80064 w 158948"/>
                <a:gd name="connsiteY31" fmla="*/ 84911 h 172875"/>
                <a:gd name="connsiteX32" fmla="*/ 40338 w 158948"/>
                <a:gd name="connsiteY32" fmla="*/ 45204 h 172875"/>
                <a:gd name="connsiteX33" fmla="*/ 54395 w 158948"/>
                <a:gd name="connsiteY33" fmla="*/ 100182 h 172875"/>
                <a:gd name="connsiteX34" fmla="*/ 54395 w 158948"/>
                <a:gd name="connsiteY34" fmla="*/ 100182 h 172875"/>
                <a:gd name="connsiteX35" fmla="*/ 54395 w 158948"/>
                <a:gd name="connsiteY35" fmla="*/ 100182 h 172875"/>
                <a:gd name="connsiteX36" fmla="*/ 55006 w 158948"/>
                <a:gd name="connsiteY36" fmla="*/ 100182 h 172875"/>
                <a:gd name="connsiteX37" fmla="*/ 55617 w 158948"/>
                <a:gd name="connsiteY37" fmla="*/ 99571 h 172875"/>
                <a:gd name="connsiteX38" fmla="*/ 55617 w 158948"/>
                <a:gd name="connsiteY38" fmla="*/ 99571 h 172875"/>
                <a:gd name="connsiteX39" fmla="*/ 62951 w 158948"/>
                <a:gd name="connsiteY39" fmla="*/ 87354 h 172875"/>
                <a:gd name="connsiteX40" fmla="*/ 79453 w 158948"/>
                <a:gd name="connsiteY40" fmla="*/ 90408 h 172875"/>
                <a:gd name="connsiteX41" fmla="*/ 95955 w 158948"/>
                <a:gd name="connsiteY41" fmla="*/ 87354 h 172875"/>
                <a:gd name="connsiteX42" fmla="*/ 103289 w 158948"/>
                <a:gd name="connsiteY42" fmla="*/ 99571 h 172875"/>
                <a:gd name="connsiteX43" fmla="*/ 103289 w 158948"/>
                <a:gd name="connsiteY43" fmla="*/ 99571 h 172875"/>
                <a:gd name="connsiteX44" fmla="*/ 103901 w 158948"/>
                <a:gd name="connsiteY44" fmla="*/ 100182 h 172875"/>
                <a:gd name="connsiteX45" fmla="*/ 104512 w 158948"/>
                <a:gd name="connsiteY45" fmla="*/ 100182 h 172875"/>
                <a:gd name="connsiteX46" fmla="*/ 104512 w 158948"/>
                <a:gd name="connsiteY46" fmla="*/ 100182 h 172875"/>
                <a:gd name="connsiteX47" fmla="*/ 108179 w 158948"/>
                <a:gd name="connsiteY47" fmla="*/ 100793 h 172875"/>
                <a:gd name="connsiteX48" fmla="*/ 79453 w 158948"/>
                <a:gd name="connsiteY48" fmla="*/ 119730 h 172875"/>
                <a:gd name="connsiteX49" fmla="*/ 50728 w 158948"/>
                <a:gd name="connsiteY49" fmla="*/ 101404 h 172875"/>
                <a:gd name="connsiteX50" fmla="*/ 54395 w 158948"/>
                <a:gd name="connsiteY50" fmla="*/ 100182 h 172875"/>
                <a:gd name="connsiteX51" fmla="*/ 146072 w 158948"/>
                <a:gd name="connsiteY51" fmla="*/ 153939 h 172875"/>
                <a:gd name="connsiteX52" fmla="*/ 79453 w 158948"/>
                <a:gd name="connsiteY52" fmla="*/ 167988 h 172875"/>
                <a:gd name="connsiteX53" fmla="*/ 12835 w 158948"/>
                <a:gd name="connsiteY53" fmla="*/ 153939 h 172875"/>
                <a:gd name="connsiteX54" fmla="*/ 5500 w 158948"/>
                <a:gd name="connsiteY54" fmla="*/ 141110 h 172875"/>
                <a:gd name="connsiteX55" fmla="*/ 5500 w 158948"/>
                <a:gd name="connsiteY55" fmla="*/ 133169 h 172875"/>
                <a:gd name="connsiteX56" fmla="*/ 18335 w 158948"/>
                <a:gd name="connsiteY56" fmla="*/ 111789 h 172875"/>
                <a:gd name="connsiteX57" fmla="*/ 35448 w 158948"/>
                <a:gd name="connsiteY57" fmla="*/ 104458 h 172875"/>
                <a:gd name="connsiteX58" fmla="*/ 43394 w 158948"/>
                <a:gd name="connsiteY58" fmla="*/ 102015 h 172875"/>
                <a:gd name="connsiteX59" fmla="*/ 44616 w 158948"/>
                <a:gd name="connsiteY59" fmla="*/ 102015 h 172875"/>
                <a:gd name="connsiteX60" fmla="*/ 78842 w 158948"/>
                <a:gd name="connsiteY60" fmla="*/ 125228 h 172875"/>
                <a:gd name="connsiteX61" fmla="*/ 113068 w 158948"/>
                <a:gd name="connsiteY61" fmla="*/ 102015 h 172875"/>
                <a:gd name="connsiteX62" fmla="*/ 114291 w 158948"/>
                <a:gd name="connsiteY62" fmla="*/ 102626 h 172875"/>
                <a:gd name="connsiteX63" fmla="*/ 122236 w 158948"/>
                <a:gd name="connsiteY63" fmla="*/ 105069 h 172875"/>
                <a:gd name="connsiteX64" fmla="*/ 139349 w 158948"/>
                <a:gd name="connsiteY64" fmla="*/ 112400 h 172875"/>
                <a:gd name="connsiteX65" fmla="*/ 152184 w 158948"/>
                <a:gd name="connsiteY65" fmla="*/ 133780 h 172875"/>
                <a:gd name="connsiteX66" fmla="*/ 152184 w 158948"/>
                <a:gd name="connsiteY66" fmla="*/ 141721 h 172875"/>
                <a:gd name="connsiteX67" fmla="*/ 146072 w 158948"/>
                <a:gd name="connsiteY67" fmla="*/ 153939 h 172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158948" h="172875">
                  <a:moveTo>
                    <a:pt x="143627" y="106291"/>
                  </a:moveTo>
                  <a:cubicBezTo>
                    <a:pt x="142405" y="105680"/>
                    <a:pt x="141182" y="105069"/>
                    <a:pt x="139960" y="104458"/>
                  </a:cubicBezTo>
                  <a:cubicBezTo>
                    <a:pt x="136904" y="102626"/>
                    <a:pt x="127736" y="99571"/>
                    <a:pt x="127736" y="99571"/>
                  </a:cubicBezTo>
                  <a:lnTo>
                    <a:pt x="127736" y="99571"/>
                  </a:lnTo>
                  <a:cubicBezTo>
                    <a:pt x="126514" y="98961"/>
                    <a:pt x="125903" y="98961"/>
                    <a:pt x="124680" y="98350"/>
                  </a:cubicBezTo>
                  <a:cubicBezTo>
                    <a:pt x="121625" y="97128"/>
                    <a:pt x="119180" y="96517"/>
                    <a:pt x="116735" y="95906"/>
                  </a:cubicBezTo>
                  <a:cubicBezTo>
                    <a:pt x="113679" y="94684"/>
                    <a:pt x="110012" y="94074"/>
                    <a:pt x="106956" y="93463"/>
                  </a:cubicBezTo>
                  <a:cubicBezTo>
                    <a:pt x="104512" y="91019"/>
                    <a:pt x="102678" y="87354"/>
                    <a:pt x="101456" y="83689"/>
                  </a:cubicBezTo>
                  <a:cubicBezTo>
                    <a:pt x="114902" y="75748"/>
                    <a:pt x="124069" y="61698"/>
                    <a:pt x="124069" y="44593"/>
                  </a:cubicBezTo>
                  <a:cubicBezTo>
                    <a:pt x="124069" y="20159"/>
                    <a:pt x="103901" y="0"/>
                    <a:pt x="79453" y="0"/>
                  </a:cubicBezTo>
                  <a:cubicBezTo>
                    <a:pt x="55006" y="0"/>
                    <a:pt x="34837" y="20159"/>
                    <a:pt x="34837" y="44593"/>
                  </a:cubicBezTo>
                  <a:cubicBezTo>
                    <a:pt x="34837" y="61087"/>
                    <a:pt x="44005" y="75748"/>
                    <a:pt x="57451" y="83689"/>
                  </a:cubicBezTo>
                  <a:cubicBezTo>
                    <a:pt x="56229" y="87354"/>
                    <a:pt x="54395" y="91019"/>
                    <a:pt x="51950" y="94074"/>
                  </a:cubicBezTo>
                  <a:cubicBezTo>
                    <a:pt x="45838" y="95295"/>
                    <a:pt x="42171" y="95906"/>
                    <a:pt x="42171" y="95906"/>
                  </a:cubicBezTo>
                  <a:cubicBezTo>
                    <a:pt x="39727" y="96517"/>
                    <a:pt x="37282" y="97128"/>
                    <a:pt x="34226" y="98350"/>
                  </a:cubicBezTo>
                  <a:cubicBezTo>
                    <a:pt x="32392" y="98961"/>
                    <a:pt x="30559" y="99571"/>
                    <a:pt x="28726" y="100182"/>
                  </a:cubicBezTo>
                  <a:cubicBezTo>
                    <a:pt x="28726" y="100182"/>
                    <a:pt x="28726" y="100182"/>
                    <a:pt x="28726" y="100182"/>
                  </a:cubicBezTo>
                  <a:cubicBezTo>
                    <a:pt x="26892" y="100793"/>
                    <a:pt x="25058" y="102015"/>
                    <a:pt x="23225" y="102626"/>
                  </a:cubicBezTo>
                  <a:cubicBezTo>
                    <a:pt x="23225" y="102626"/>
                    <a:pt x="23225" y="102626"/>
                    <a:pt x="23225" y="102626"/>
                  </a:cubicBezTo>
                  <a:cubicBezTo>
                    <a:pt x="20780" y="103847"/>
                    <a:pt x="18335" y="105069"/>
                    <a:pt x="15891" y="106291"/>
                  </a:cubicBezTo>
                  <a:cubicBezTo>
                    <a:pt x="6112" y="111178"/>
                    <a:pt x="0" y="121563"/>
                    <a:pt x="0" y="132558"/>
                  </a:cubicBezTo>
                  <a:lnTo>
                    <a:pt x="0" y="140499"/>
                  </a:lnTo>
                  <a:cubicBezTo>
                    <a:pt x="0" y="147830"/>
                    <a:pt x="4278" y="154549"/>
                    <a:pt x="10390" y="158215"/>
                  </a:cubicBezTo>
                  <a:cubicBezTo>
                    <a:pt x="22614" y="164934"/>
                    <a:pt x="45227" y="172875"/>
                    <a:pt x="79453" y="172875"/>
                  </a:cubicBezTo>
                  <a:cubicBezTo>
                    <a:pt x="113679" y="172875"/>
                    <a:pt x="136293" y="164934"/>
                    <a:pt x="148517" y="158215"/>
                  </a:cubicBezTo>
                  <a:cubicBezTo>
                    <a:pt x="155239" y="154549"/>
                    <a:pt x="158907" y="147830"/>
                    <a:pt x="158907" y="140499"/>
                  </a:cubicBezTo>
                  <a:lnTo>
                    <a:pt x="158907" y="132558"/>
                  </a:lnTo>
                  <a:cubicBezTo>
                    <a:pt x="159518" y="121563"/>
                    <a:pt x="153406" y="111789"/>
                    <a:pt x="143627" y="106291"/>
                  </a:cubicBezTo>
                  <a:close/>
                  <a:moveTo>
                    <a:pt x="40338" y="45204"/>
                  </a:moveTo>
                  <a:cubicBezTo>
                    <a:pt x="40338" y="23213"/>
                    <a:pt x="58062" y="5498"/>
                    <a:pt x="80064" y="5498"/>
                  </a:cubicBezTo>
                  <a:cubicBezTo>
                    <a:pt x="102067" y="5498"/>
                    <a:pt x="119791" y="23213"/>
                    <a:pt x="119791" y="45204"/>
                  </a:cubicBezTo>
                  <a:cubicBezTo>
                    <a:pt x="119791" y="67195"/>
                    <a:pt x="102067" y="84911"/>
                    <a:pt x="80064" y="84911"/>
                  </a:cubicBezTo>
                  <a:cubicBezTo>
                    <a:pt x="58062" y="84911"/>
                    <a:pt x="40338" y="67195"/>
                    <a:pt x="40338" y="45204"/>
                  </a:cubicBezTo>
                  <a:close/>
                  <a:moveTo>
                    <a:pt x="54395" y="100182"/>
                  </a:moveTo>
                  <a:lnTo>
                    <a:pt x="54395" y="100182"/>
                  </a:lnTo>
                  <a:cubicBezTo>
                    <a:pt x="55006" y="100182"/>
                    <a:pt x="55006" y="100182"/>
                    <a:pt x="54395" y="100182"/>
                  </a:cubicBezTo>
                  <a:cubicBezTo>
                    <a:pt x="55006" y="100182"/>
                    <a:pt x="55006" y="100182"/>
                    <a:pt x="55006" y="100182"/>
                  </a:cubicBezTo>
                  <a:lnTo>
                    <a:pt x="55617" y="99571"/>
                  </a:lnTo>
                  <a:cubicBezTo>
                    <a:pt x="55617" y="99571"/>
                    <a:pt x="55617" y="99571"/>
                    <a:pt x="55617" y="99571"/>
                  </a:cubicBezTo>
                  <a:cubicBezTo>
                    <a:pt x="59285" y="95906"/>
                    <a:pt x="61729" y="91630"/>
                    <a:pt x="62951" y="87354"/>
                  </a:cubicBezTo>
                  <a:cubicBezTo>
                    <a:pt x="67841" y="89187"/>
                    <a:pt x="73342" y="90408"/>
                    <a:pt x="79453" y="90408"/>
                  </a:cubicBezTo>
                  <a:cubicBezTo>
                    <a:pt x="85565" y="90408"/>
                    <a:pt x="91066" y="89187"/>
                    <a:pt x="95955" y="87354"/>
                  </a:cubicBezTo>
                  <a:cubicBezTo>
                    <a:pt x="97177" y="91630"/>
                    <a:pt x="99622" y="95906"/>
                    <a:pt x="103289" y="99571"/>
                  </a:cubicBezTo>
                  <a:cubicBezTo>
                    <a:pt x="103289" y="99571"/>
                    <a:pt x="103289" y="99571"/>
                    <a:pt x="103289" y="99571"/>
                  </a:cubicBezTo>
                  <a:cubicBezTo>
                    <a:pt x="103289" y="99571"/>
                    <a:pt x="103901" y="99571"/>
                    <a:pt x="103901" y="100182"/>
                  </a:cubicBezTo>
                  <a:cubicBezTo>
                    <a:pt x="103901" y="100182"/>
                    <a:pt x="104512" y="100182"/>
                    <a:pt x="104512" y="100182"/>
                  </a:cubicBezTo>
                  <a:cubicBezTo>
                    <a:pt x="104512" y="100182"/>
                    <a:pt x="104512" y="100182"/>
                    <a:pt x="104512" y="100182"/>
                  </a:cubicBezTo>
                  <a:cubicBezTo>
                    <a:pt x="105734" y="100182"/>
                    <a:pt x="106956" y="100793"/>
                    <a:pt x="108179" y="100793"/>
                  </a:cubicBezTo>
                  <a:cubicBezTo>
                    <a:pt x="106956" y="111178"/>
                    <a:pt x="94733" y="119730"/>
                    <a:pt x="79453" y="119730"/>
                  </a:cubicBezTo>
                  <a:cubicBezTo>
                    <a:pt x="64174" y="119730"/>
                    <a:pt x="52561" y="111789"/>
                    <a:pt x="50728" y="101404"/>
                  </a:cubicBezTo>
                  <a:cubicBezTo>
                    <a:pt x="51950" y="100182"/>
                    <a:pt x="53173" y="100182"/>
                    <a:pt x="54395" y="100182"/>
                  </a:cubicBezTo>
                  <a:close/>
                  <a:moveTo>
                    <a:pt x="146072" y="153939"/>
                  </a:moveTo>
                  <a:cubicBezTo>
                    <a:pt x="136293" y="159436"/>
                    <a:pt x="114902" y="167988"/>
                    <a:pt x="79453" y="167988"/>
                  </a:cubicBezTo>
                  <a:cubicBezTo>
                    <a:pt x="44616" y="167988"/>
                    <a:pt x="22614" y="159436"/>
                    <a:pt x="12835" y="153939"/>
                  </a:cubicBezTo>
                  <a:cubicBezTo>
                    <a:pt x="8556" y="151495"/>
                    <a:pt x="5500" y="146608"/>
                    <a:pt x="5500" y="141110"/>
                  </a:cubicBezTo>
                  <a:lnTo>
                    <a:pt x="5500" y="133169"/>
                  </a:lnTo>
                  <a:cubicBezTo>
                    <a:pt x="5500" y="124006"/>
                    <a:pt x="10390" y="116065"/>
                    <a:pt x="18335" y="111789"/>
                  </a:cubicBezTo>
                  <a:cubicBezTo>
                    <a:pt x="23836" y="108734"/>
                    <a:pt x="29948" y="106291"/>
                    <a:pt x="35448" y="104458"/>
                  </a:cubicBezTo>
                  <a:cubicBezTo>
                    <a:pt x="38504" y="103237"/>
                    <a:pt x="40949" y="102626"/>
                    <a:pt x="43394" y="102015"/>
                  </a:cubicBezTo>
                  <a:lnTo>
                    <a:pt x="44616" y="102015"/>
                  </a:lnTo>
                  <a:cubicBezTo>
                    <a:pt x="47061" y="114843"/>
                    <a:pt x="61729" y="125228"/>
                    <a:pt x="78842" y="125228"/>
                  </a:cubicBezTo>
                  <a:cubicBezTo>
                    <a:pt x="95955" y="125228"/>
                    <a:pt x="110623" y="114843"/>
                    <a:pt x="113068" y="102015"/>
                  </a:cubicBezTo>
                  <a:cubicBezTo>
                    <a:pt x="113679" y="102015"/>
                    <a:pt x="113679" y="102015"/>
                    <a:pt x="114291" y="102626"/>
                  </a:cubicBezTo>
                  <a:cubicBezTo>
                    <a:pt x="116735" y="103237"/>
                    <a:pt x="119180" y="103847"/>
                    <a:pt x="122236" y="105069"/>
                  </a:cubicBezTo>
                  <a:cubicBezTo>
                    <a:pt x="128348" y="106902"/>
                    <a:pt x="133848" y="109345"/>
                    <a:pt x="139349" y="112400"/>
                  </a:cubicBezTo>
                  <a:cubicBezTo>
                    <a:pt x="147294" y="116676"/>
                    <a:pt x="152184" y="124617"/>
                    <a:pt x="152184" y="133780"/>
                  </a:cubicBezTo>
                  <a:lnTo>
                    <a:pt x="152184" y="141721"/>
                  </a:lnTo>
                  <a:cubicBezTo>
                    <a:pt x="153406" y="146608"/>
                    <a:pt x="150962" y="150884"/>
                    <a:pt x="146072" y="153939"/>
                  </a:cubicBezTo>
                  <a:close/>
                </a:path>
              </a:pathLst>
            </a:custGeom>
            <a:solidFill>
              <a:srgbClr val="2473B9"/>
            </a:solidFill>
            <a:ln w="61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</p:grpSp>
      <p:grpSp>
        <p:nvGrpSpPr>
          <p:cNvPr id="55" name="Group 54">
            <a:extLst>
              <a:ext uri="{FF2B5EF4-FFF2-40B4-BE49-F238E27FC236}">
                <a16:creationId xmlns:a16="http://schemas.microsoft.com/office/drawing/2014/main" id="{D953AF61-9DE9-A945-B748-0E94D4503672}"/>
              </a:ext>
            </a:extLst>
          </p:cNvPr>
          <p:cNvGrpSpPr/>
          <p:nvPr/>
        </p:nvGrpSpPr>
        <p:grpSpPr>
          <a:xfrm>
            <a:off x="2770503" y="4596237"/>
            <a:ext cx="853440" cy="853440"/>
            <a:chOff x="4243624" y="656353"/>
            <a:chExt cx="640080" cy="640080"/>
          </a:xfrm>
        </p:grpSpPr>
        <p:sp>
          <p:nvSpPr>
            <p:cNvPr id="56" name="Oval 55">
              <a:extLst>
                <a:ext uri="{FF2B5EF4-FFF2-40B4-BE49-F238E27FC236}">
                  <a16:creationId xmlns:a16="http://schemas.microsoft.com/office/drawing/2014/main" id="{CB961033-8FB9-3443-9199-885054741F88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243624" y="656353"/>
              <a:ext cx="640080" cy="64008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57" name="Graphic 11">
              <a:extLst>
                <a:ext uri="{FF2B5EF4-FFF2-40B4-BE49-F238E27FC236}">
                  <a16:creationId xmlns:a16="http://schemas.microsoft.com/office/drawing/2014/main" id="{13C1D20A-B6E6-B249-B20A-354FFF66E930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378703" y="775225"/>
              <a:ext cx="369923" cy="402336"/>
            </a:xfrm>
            <a:custGeom>
              <a:avLst/>
              <a:gdLst>
                <a:gd name="connsiteX0" fmla="*/ 143627 w 158948"/>
                <a:gd name="connsiteY0" fmla="*/ 106291 h 172875"/>
                <a:gd name="connsiteX1" fmla="*/ 139960 w 158948"/>
                <a:gd name="connsiteY1" fmla="*/ 104458 h 172875"/>
                <a:gd name="connsiteX2" fmla="*/ 127736 w 158948"/>
                <a:gd name="connsiteY2" fmla="*/ 99571 h 172875"/>
                <a:gd name="connsiteX3" fmla="*/ 127736 w 158948"/>
                <a:gd name="connsiteY3" fmla="*/ 99571 h 172875"/>
                <a:gd name="connsiteX4" fmla="*/ 124680 w 158948"/>
                <a:gd name="connsiteY4" fmla="*/ 98350 h 172875"/>
                <a:gd name="connsiteX5" fmla="*/ 116735 w 158948"/>
                <a:gd name="connsiteY5" fmla="*/ 95906 h 172875"/>
                <a:gd name="connsiteX6" fmla="*/ 106956 w 158948"/>
                <a:gd name="connsiteY6" fmla="*/ 93463 h 172875"/>
                <a:gd name="connsiteX7" fmla="*/ 101456 w 158948"/>
                <a:gd name="connsiteY7" fmla="*/ 83689 h 172875"/>
                <a:gd name="connsiteX8" fmla="*/ 124069 w 158948"/>
                <a:gd name="connsiteY8" fmla="*/ 44593 h 172875"/>
                <a:gd name="connsiteX9" fmla="*/ 79453 w 158948"/>
                <a:gd name="connsiteY9" fmla="*/ 0 h 172875"/>
                <a:gd name="connsiteX10" fmla="*/ 34837 w 158948"/>
                <a:gd name="connsiteY10" fmla="*/ 44593 h 172875"/>
                <a:gd name="connsiteX11" fmla="*/ 57451 w 158948"/>
                <a:gd name="connsiteY11" fmla="*/ 83689 h 172875"/>
                <a:gd name="connsiteX12" fmla="*/ 51950 w 158948"/>
                <a:gd name="connsiteY12" fmla="*/ 94074 h 172875"/>
                <a:gd name="connsiteX13" fmla="*/ 42171 w 158948"/>
                <a:gd name="connsiteY13" fmla="*/ 95906 h 172875"/>
                <a:gd name="connsiteX14" fmla="*/ 34226 w 158948"/>
                <a:gd name="connsiteY14" fmla="*/ 98350 h 172875"/>
                <a:gd name="connsiteX15" fmla="*/ 28726 w 158948"/>
                <a:gd name="connsiteY15" fmla="*/ 100182 h 172875"/>
                <a:gd name="connsiteX16" fmla="*/ 28726 w 158948"/>
                <a:gd name="connsiteY16" fmla="*/ 100182 h 172875"/>
                <a:gd name="connsiteX17" fmla="*/ 23225 w 158948"/>
                <a:gd name="connsiteY17" fmla="*/ 102626 h 172875"/>
                <a:gd name="connsiteX18" fmla="*/ 23225 w 158948"/>
                <a:gd name="connsiteY18" fmla="*/ 102626 h 172875"/>
                <a:gd name="connsiteX19" fmla="*/ 15891 w 158948"/>
                <a:gd name="connsiteY19" fmla="*/ 106291 h 172875"/>
                <a:gd name="connsiteX20" fmla="*/ 0 w 158948"/>
                <a:gd name="connsiteY20" fmla="*/ 132558 h 172875"/>
                <a:gd name="connsiteX21" fmla="*/ 0 w 158948"/>
                <a:gd name="connsiteY21" fmla="*/ 140499 h 172875"/>
                <a:gd name="connsiteX22" fmla="*/ 10390 w 158948"/>
                <a:gd name="connsiteY22" fmla="*/ 158215 h 172875"/>
                <a:gd name="connsiteX23" fmla="*/ 79453 w 158948"/>
                <a:gd name="connsiteY23" fmla="*/ 172875 h 172875"/>
                <a:gd name="connsiteX24" fmla="*/ 148517 w 158948"/>
                <a:gd name="connsiteY24" fmla="*/ 158215 h 172875"/>
                <a:gd name="connsiteX25" fmla="*/ 158907 w 158948"/>
                <a:gd name="connsiteY25" fmla="*/ 140499 h 172875"/>
                <a:gd name="connsiteX26" fmla="*/ 158907 w 158948"/>
                <a:gd name="connsiteY26" fmla="*/ 132558 h 172875"/>
                <a:gd name="connsiteX27" fmla="*/ 143627 w 158948"/>
                <a:gd name="connsiteY27" fmla="*/ 106291 h 172875"/>
                <a:gd name="connsiteX28" fmla="*/ 40338 w 158948"/>
                <a:gd name="connsiteY28" fmla="*/ 45204 h 172875"/>
                <a:gd name="connsiteX29" fmla="*/ 80064 w 158948"/>
                <a:gd name="connsiteY29" fmla="*/ 5498 h 172875"/>
                <a:gd name="connsiteX30" fmla="*/ 119791 w 158948"/>
                <a:gd name="connsiteY30" fmla="*/ 45204 h 172875"/>
                <a:gd name="connsiteX31" fmla="*/ 80064 w 158948"/>
                <a:gd name="connsiteY31" fmla="*/ 84911 h 172875"/>
                <a:gd name="connsiteX32" fmla="*/ 40338 w 158948"/>
                <a:gd name="connsiteY32" fmla="*/ 45204 h 172875"/>
                <a:gd name="connsiteX33" fmla="*/ 54395 w 158948"/>
                <a:gd name="connsiteY33" fmla="*/ 100182 h 172875"/>
                <a:gd name="connsiteX34" fmla="*/ 54395 w 158948"/>
                <a:gd name="connsiteY34" fmla="*/ 100182 h 172875"/>
                <a:gd name="connsiteX35" fmla="*/ 54395 w 158948"/>
                <a:gd name="connsiteY35" fmla="*/ 100182 h 172875"/>
                <a:gd name="connsiteX36" fmla="*/ 55006 w 158948"/>
                <a:gd name="connsiteY36" fmla="*/ 100182 h 172875"/>
                <a:gd name="connsiteX37" fmla="*/ 55617 w 158948"/>
                <a:gd name="connsiteY37" fmla="*/ 99571 h 172875"/>
                <a:gd name="connsiteX38" fmla="*/ 55617 w 158948"/>
                <a:gd name="connsiteY38" fmla="*/ 99571 h 172875"/>
                <a:gd name="connsiteX39" fmla="*/ 62951 w 158948"/>
                <a:gd name="connsiteY39" fmla="*/ 87354 h 172875"/>
                <a:gd name="connsiteX40" fmla="*/ 79453 w 158948"/>
                <a:gd name="connsiteY40" fmla="*/ 90408 h 172875"/>
                <a:gd name="connsiteX41" fmla="*/ 95955 w 158948"/>
                <a:gd name="connsiteY41" fmla="*/ 87354 h 172875"/>
                <a:gd name="connsiteX42" fmla="*/ 103289 w 158948"/>
                <a:gd name="connsiteY42" fmla="*/ 99571 h 172875"/>
                <a:gd name="connsiteX43" fmla="*/ 103289 w 158948"/>
                <a:gd name="connsiteY43" fmla="*/ 99571 h 172875"/>
                <a:gd name="connsiteX44" fmla="*/ 103901 w 158948"/>
                <a:gd name="connsiteY44" fmla="*/ 100182 h 172875"/>
                <a:gd name="connsiteX45" fmla="*/ 104512 w 158948"/>
                <a:gd name="connsiteY45" fmla="*/ 100182 h 172875"/>
                <a:gd name="connsiteX46" fmla="*/ 104512 w 158948"/>
                <a:gd name="connsiteY46" fmla="*/ 100182 h 172875"/>
                <a:gd name="connsiteX47" fmla="*/ 108179 w 158948"/>
                <a:gd name="connsiteY47" fmla="*/ 100793 h 172875"/>
                <a:gd name="connsiteX48" fmla="*/ 79453 w 158948"/>
                <a:gd name="connsiteY48" fmla="*/ 119730 h 172875"/>
                <a:gd name="connsiteX49" fmla="*/ 50728 w 158948"/>
                <a:gd name="connsiteY49" fmla="*/ 101404 h 172875"/>
                <a:gd name="connsiteX50" fmla="*/ 54395 w 158948"/>
                <a:gd name="connsiteY50" fmla="*/ 100182 h 172875"/>
                <a:gd name="connsiteX51" fmla="*/ 146072 w 158948"/>
                <a:gd name="connsiteY51" fmla="*/ 153939 h 172875"/>
                <a:gd name="connsiteX52" fmla="*/ 79453 w 158948"/>
                <a:gd name="connsiteY52" fmla="*/ 167988 h 172875"/>
                <a:gd name="connsiteX53" fmla="*/ 12835 w 158948"/>
                <a:gd name="connsiteY53" fmla="*/ 153939 h 172875"/>
                <a:gd name="connsiteX54" fmla="*/ 5500 w 158948"/>
                <a:gd name="connsiteY54" fmla="*/ 141110 h 172875"/>
                <a:gd name="connsiteX55" fmla="*/ 5500 w 158948"/>
                <a:gd name="connsiteY55" fmla="*/ 133169 h 172875"/>
                <a:gd name="connsiteX56" fmla="*/ 18335 w 158948"/>
                <a:gd name="connsiteY56" fmla="*/ 111789 h 172875"/>
                <a:gd name="connsiteX57" fmla="*/ 35448 w 158948"/>
                <a:gd name="connsiteY57" fmla="*/ 104458 h 172875"/>
                <a:gd name="connsiteX58" fmla="*/ 43394 w 158948"/>
                <a:gd name="connsiteY58" fmla="*/ 102015 h 172875"/>
                <a:gd name="connsiteX59" fmla="*/ 44616 w 158948"/>
                <a:gd name="connsiteY59" fmla="*/ 102015 h 172875"/>
                <a:gd name="connsiteX60" fmla="*/ 78842 w 158948"/>
                <a:gd name="connsiteY60" fmla="*/ 125228 h 172875"/>
                <a:gd name="connsiteX61" fmla="*/ 113068 w 158948"/>
                <a:gd name="connsiteY61" fmla="*/ 102015 h 172875"/>
                <a:gd name="connsiteX62" fmla="*/ 114291 w 158948"/>
                <a:gd name="connsiteY62" fmla="*/ 102626 h 172875"/>
                <a:gd name="connsiteX63" fmla="*/ 122236 w 158948"/>
                <a:gd name="connsiteY63" fmla="*/ 105069 h 172875"/>
                <a:gd name="connsiteX64" fmla="*/ 139349 w 158948"/>
                <a:gd name="connsiteY64" fmla="*/ 112400 h 172875"/>
                <a:gd name="connsiteX65" fmla="*/ 152184 w 158948"/>
                <a:gd name="connsiteY65" fmla="*/ 133780 h 172875"/>
                <a:gd name="connsiteX66" fmla="*/ 152184 w 158948"/>
                <a:gd name="connsiteY66" fmla="*/ 141721 h 172875"/>
                <a:gd name="connsiteX67" fmla="*/ 146072 w 158948"/>
                <a:gd name="connsiteY67" fmla="*/ 153939 h 172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158948" h="172875">
                  <a:moveTo>
                    <a:pt x="143627" y="106291"/>
                  </a:moveTo>
                  <a:cubicBezTo>
                    <a:pt x="142405" y="105680"/>
                    <a:pt x="141182" y="105069"/>
                    <a:pt x="139960" y="104458"/>
                  </a:cubicBezTo>
                  <a:cubicBezTo>
                    <a:pt x="136904" y="102626"/>
                    <a:pt x="127736" y="99571"/>
                    <a:pt x="127736" y="99571"/>
                  </a:cubicBezTo>
                  <a:lnTo>
                    <a:pt x="127736" y="99571"/>
                  </a:lnTo>
                  <a:cubicBezTo>
                    <a:pt x="126514" y="98961"/>
                    <a:pt x="125903" y="98961"/>
                    <a:pt x="124680" y="98350"/>
                  </a:cubicBezTo>
                  <a:cubicBezTo>
                    <a:pt x="121625" y="97128"/>
                    <a:pt x="119180" y="96517"/>
                    <a:pt x="116735" y="95906"/>
                  </a:cubicBezTo>
                  <a:cubicBezTo>
                    <a:pt x="113679" y="94684"/>
                    <a:pt x="110012" y="94074"/>
                    <a:pt x="106956" y="93463"/>
                  </a:cubicBezTo>
                  <a:cubicBezTo>
                    <a:pt x="104512" y="91019"/>
                    <a:pt x="102678" y="87354"/>
                    <a:pt x="101456" y="83689"/>
                  </a:cubicBezTo>
                  <a:cubicBezTo>
                    <a:pt x="114902" y="75748"/>
                    <a:pt x="124069" y="61698"/>
                    <a:pt x="124069" y="44593"/>
                  </a:cubicBezTo>
                  <a:cubicBezTo>
                    <a:pt x="124069" y="20159"/>
                    <a:pt x="103901" y="0"/>
                    <a:pt x="79453" y="0"/>
                  </a:cubicBezTo>
                  <a:cubicBezTo>
                    <a:pt x="55006" y="0"/>
                    <a:pt x="34837" y="20159"/>
                    <a:pt x="34837" y="44593"/>
                  </a:cubicBezTo>
                  <a:cubicBezTo>
                    <a:pt x="34837" y="61087"/>
                    <a:pt x="44005" y="75748"/>
                    <a:pt x="57451" y="83689"/>
                  </a:cubicBezTo>
                  <a:cubicBezTo>
                    <a:pt x="56229" y="87354"/>
                    <a:pt x="54395" y="91019"/>
                    <a:pt x="51950" y="94074"/>
                  </a:cubicBezTo>
                  <a:cubicBezTo>
                    <a:pt x="45838" y="95295"/>
                    <a:pt x="42171" y="95906"/>
                    <a:pt x="42171" y="95906"/>
                  </a:cubicBezTo>
                  <a:cubicBezTo>
                    <a:pt x="39727" y="96517"/>
                    <a:pt x="37282" y="97128"/>
                    <a:pt x="34226" y="98350"/>
                  </a:cubicBezTo>
                  <a:cubicBezTo>
                    <a:pt x="32392" y="98961"/>
                    <a:pt x="30559" y="99571"/>
                    <a:pt x="28726" y="100182"/>
                  </a:cubicBezTo>
                  <a:cubicBezTo>
                    <a:pt x="28726" y="100182"/>
                    <a:pt x="28726" y="100182"/>
                    <a:pt x="28726" y="100182"/>
                  </a:cubicBezTo>
                  <a:cubicBezTo>
                    <a:pt x="26892" y="100793"/>
                    <a:pt x="25058" y="102015"/>
                    <a:pt x="23225" y="102626"/>
                  </a:cubicBezTo>
                  <a:cubicBezTo>
                    <a:pt x="23225" y="102626"/>
                    <a:pt x="23225" y="102626"/>
                    <a:pt x="23225" y="102626"/>
                  </a:cubicBezTo>
                  <a:cubicBezTo>
                    <a:pt x="20780" y="103847"/>
                    <a:pt x="18335" y="105069"/>
                    <a:pt x="15891" y="106291"/>
                  </a:cubicBezTo>
                  <a:cubicBezTo>
                    <a:pt x="6112" y="111178"/>
                    <a:pt x="0" y="121563"/>
                    <a:pt x="0" y="132558"/>
                  </a:cubicBezTo>
                  <a:lnTo>
                    <a:pt x="0" y="140499"/>
                  </a:lnTo>
                  <a:cubicBezTo>
                    <a:pt x="0" y="147830"/>
                    <a:pt x="4278" y="154549"/>
                    <a:pt x="10390" y="158215"/>
                  </a:cubicBezTo>
                  <a:cubicBezTo>
                    <a:pt x="22614" y="164934"/>
                    <a:pt x="45227" y="172875"/>
                    <a:pt x="79453" y="172875"/>
                  </a:cubicBezTo>
                  <a:cubicBezTo>
                    <a:pt x="113679" y="172875"/>
                    <a:pt x="136293" y="164934"/>
                    <a:pt x="148517" y="158215"/>
                  </a:cubicBezTo>
                  <a:cubicBezTo>
                    <a:pt x="155239" y="154549"/>
                    <a:pt x="158907" y="147830"/>
                    <a:pt x="158907" y="140499"/>
                  </a:cubicBezTo>
                  <a:lnTo>
                    <a:pt x="158907" y="132558"/>
                  </a:lnTo>
                  <a:cubicBezTo>
                    <a:pt x="159518" y="121563"/>
                    <a:pt x="153406" y="111789"/>
                    <a:pt x="143627" y="106291"/>
                  </a:cubicBezTo>
                  <a:close/>
                  <a:moveTo>
                    <a:pt x="40338" y="45204"/>
                  </a:moveTo>
                  <a:cubicBezTo>
                    <a:pt x="40338" y="23213"/>
                    <a:pt x="58062" y="5498"/>
                    <a:pt x="80064" y="5498"/>
                  </a:cubicBezTo>
                  <a:cubicBezTo>
                    <a:pt x="102067" y="5498"/>
                    <a:pt x="119791" y="23213"/>
                    <a:pt x="119791" y="45204"/>
                  </a:cubicBezTo>
                  <a:cubicBezTo>
                    <a:pt x="119791" y="67195"/>
                    <a:pt x="102067" y="84911"/>
                    <a:pt x="80064" y="84911"/>
                  </a:cubicBezTo>
                  <a:cubicBezTo>
                    <a:pt x="58062" y="84911"/>
                    <a:pt x="40338" y="67195"/>
                    <a:pt x="40338" y="45204"/>
                  </a:cubicBezTo>
                  <a:close/>
                  <a:moveTo>
                    <a:pt x="54395" y="100182"/>
                  </a:moveTo>
                  <a:lnTo>
                    <a:pt x="54395" y="100182"/>
                  </a:lnTo>
                  <a:cubicBezTo>
                    <a:pt x="55006" y="100182"/>
                    <a:pt x="55006" y="100182"/>
                    <a:pt x="54395" y="100182"/>
                  </a:cubicBezTo>
                  <a:cubicBezTo>
                    <a:pt x="55006" y="100182"/>
                    <a:pt x="55006" y="100182"/>
                    <a:pt x="55006" y="100182"/>
                  </a:cubicBezTo>
                  <a:lnTo>
                    <a:pt x="55617" y="99571"/>
                  </a:lnTo>
                  <a:cubicBezTo>
                    <a:pt x="55617" y="99571"/>
                    <a:pt x="55617" y="99571"/>
                    <a:pt x="55617" y="99571"/>
                  </a:cubicBezTo>
                  <a:cubicBezTo>
                    <a:pt x="59285" y="95906"/>
                    <a:pt x="61729" y="91630"/>
                    <a:pt x="62951" y="87354"/>
                  </a:cubicBezTo>
                  <a:cubicBezTo>
                    <a:pt x="67841" y="89187"/>
                    <a:pt x="73342" y="90408"/>
                    <a:pt x="79453" y="90408"/>
                  </a:cubicBezTo>
                  <a:cubicBezTo>
                    <a:pt x="85565" y="90408"/>
                    <a:pt x="91066" y="89187"/>
                    <a:pt x="95955" y="87354"/>
                  </a:cubicBezTo>
                  <a:cubicBezTo>
                    <a:pt x="97177" y="91630"/>
                    <a:pt x="99622" y="95906"/>
                    <a:pt x="103289" y="99571"/>
                  </a:cubicBezTo>
                  <a:cubicBezTo>
                    <a:pt x="103289" y="99571"/>
                    <a:pt x="103289" y="99571"/>
                    <a:pt x="103289" y="99571"/>
                  </a:cubicBezTo>
                  <a:cubicBezTo>
                    <a:pt x="103289" y="99571"/>
                    <a:pt x="103901" y="99571"/>
                    <a:pt x="103901" y="100182"/>
                  </a:cubicBezTo>
                  <a:cubicBezTo>
                    <a:pt x="103901" y="100182"/>
                    <a:pt x="104512" y="100182"/>
                    <a:pt x="104512" y="100182"/>
                  </a:cubicBezTo>
                  <a:cubicBezTo>
                    <a:pt x="104512" y="100182"/>
                    <a:pt x="104512" y="100182"/>
                    <a:pt x="104512" y="100182"/>
                  </a:cubicBezTo>
                  <a:cubicBezTo>
                    <a:pt x="105734" y="100182"/>
                    <a:pt x="106956" y="100793"/>
                    <a:pt x="108179" y="100793"/>
                  </a:cubicBezTo>
                  <a:cubicBezTo>
                    <a:pt x="106956" y="111178"/>
                    <a:pt x="94733" y="119730"/>
                    <a:pt x="79453" y="119730"/>
                  </a:cubicBezTo>
                  <a:cubicBezTo>
                    <a:pt x="64174" y="119730"/>
                    <a:pt x="52561" y="111789"/>
                    <a:pt x="50728" y="101404"/>
                  </a:cubicBezTo>
                  <a:cubicBezTo>
                    <a:pt x="51950" y="100182"/>
                    <a:pt x="53173" y="100182"/>
                    <a:pt x="54395" y="100182"/>
                  </a:cubicBezTo>
                  <a:close/>
                  <a:moveTo>
                    <a:pt x="146072" y="153939"/>
                  </a:moveTo>
                  <a:cubicBezTo>
                    <a:pt x="136293" y="159436"/>
                    <a:pt x="114902" y="167988"/>
                    <a:pt x="79453" y="167988"/>
                  </a:cubicBezTo>
                  <a:cubicBezTo>
                    <a:pt x="44616" y="167988"/>
                    <a:pt x="22614" y="159436"/>
                    <a:pt x="12835" y="153939"/>
                  </a:cubicBezTo>
                  <a:cubicBezTo>
                    <a:pt x="8556" y="151495"/>
                    <a:pt x="5500" y="146608"/>
                    <a:pt x="5500" y="141110"/>
                  </a:cubicBezTo>
                  <a:lnTo>
                    <a:pt x="5500" y="133169"/>
                  </a:lnTo>
                  <a:cubicBezTo>
                    <a:pt x="5500" y="124006"/>
                    <a:pt x="10390" y="116065"/>
                    <a:pt x="18335" y="111789"/>
                  </a:cubicBezTo>
                  <a:cubicBezTo>
                    <a:pt x="23836" y="108734"/>
                    <a:pt x="29948" y="106291"/>
                    <a:pt x="35448" y="104458"/>
                  </a:cubicBezTo>
                  <a:cubicBezTo>
                    <a:pt x="38504" y="103237"/>
                    <a:pt x="40949" y="102626"/>
                    <a:pt x="43394" y="102015"/>
                  </a:cubicBezTo>
                  <a:lnTo>
                    <a:pt x="44616" y="102015"/>
                  </a:lnTo>
                  <a:cubicBezTo>
                    <a:pt x="47061" y="114843"/>
                    <a:pt x="61729" y="125228"/>
                    <a:pt x="78842" y="125228"/>
                  </a:cubicBezTo>
                  <a:cubicBezTo>
                    <a:pt x="95955" y="125228"/>
                    <a:pt x="110623" y="114843"/>
                    <a:pt x="113068" y="102015"/>
                  </a:cubicBezTo>
                  <a:cubicBezTo>
                    <a:pt x="113679" y="102015"/>
                    <a:pt x="113679" y="102015"/>
                    <a:pt x="114291" y="102626"/>
                  </a:cubicBezTo>
                  <a:cubicBezTo>
                    <a:pt x="116735" y="103237"/>
                    <a:pt x="119180" y="103847"/>
                    <a:pt x="122236" y="105069"/>
                  </a:cubicBezTo>
                  <a:cubicBezTo>
                    <a:pt x="128348" y="106902"/>
                    <a:pt x="133848" y="109345"/>
                    <a:pt x="139349" y="112400"/>
                  </a:cubicBezTo>
                  <a:cubicBezTo>
                    <a:pt x="147294" y="116676"/>
                    <a:pt x="152184" y="124617"/>
                    <a:pt x="152184" y="133780"/>
                  </a:cubicBezTo>
                  <a:lnTo>
                    <a:pt x="152184" y="141721"/>
                  </a:lnTo>
                  <a:cubicBezTo>
                    <a:pt x="153406" y="146608"/>
                    <a:pt x="150962" y="150884"/>
                    <a:pt x="146072" y="153939"/>
                  </a:cubicBezTo>
                  <a:close/>
                </a:path>
              </a:pathLst>
            </a:custGeom>
            <a:solidFill>
              <a:srgbClr val="2473B9"/>
            </a:solidFill>
            <a:ln w="61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</p:grpSp>
      <p:grpSp>
        <p:nvGrpSpPr>
          <p:cNvPr id="58" name="Group 57">
            <a:extLst>
              <a:ext uri="{FF2B5EF4-FFF2-40B4-BE49-F238E27FC236}">
                <a16:creationId xmlns:a16="http://schemas.microsoft.com/office/drawing/2014/main" id="{2FCD0B4F-363E-5745-871A-FE2CD9FFD6C6}"/>
              </a:ext>
            </a:extLst>
          </p:cNvPr>
          <p:cNvGrpSpPr/>
          <p:nvPr/>
        </p:nvGrpSpPr>
        <p:grpSpPr>
          <a:xfrm>
            <a:off x="10466708" y="4596237"/>
            <a:ext cx="853440" cy="853440"/>
            <a:chOff x="4243624" y="656353"/>
            <a:chExt cx="640080" cy="640080"/>
          </a:xfrm>
        </p:grpSpPr>
        <p:sp>
          <p:nvSpPr>
            <p:cNvPr id="59" name="Oval 58">
              <a:extLst>
                <a:ext uri="{FF2B5EF4-FFF2-40B4-BE49-F238E27FC236}">
                  <a16:creationId xmlns:a16="http://schemas.microsoft.com/office/drawing/2014/main" id="{93B4F8D7-CF6E-B742-AEC0-916D75EFBC0B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243624" y="656353"/>
              <a:ext cx="640080" cy="64008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60" name="Graphic 11">
              <a:extLst>
                <a:ext uri="{FF2B5EF4-FFF2-40B4-BE49-F238E27FC236}">
                  <a16:creationId xmlns:a16="http://schemas.microsoft.com/office/drawing/2014/main" id="{C744F88C-4685-AF48-AF1E-639103C4B022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378703" y="775225"/>
              <a:ext cx="369923" cy="402336"/>
            </a:xfrm>
            <a:custGeom>
              <a:avLst/>
              <a:gdLst>
                <a:gd name="connsiteX0" fmla="*/ 143627 w 158948"/>
                <a:gd name="connsiteY0" fmla="*/ 106291 h 172875"/>
                <a:gd name="connsiteX1" fmla="*/ 139960 w 158948"/>
                <a:gd name="connsiteY1" fmla="*/ 104458 h 172875"/>
                <a:gd name="connsiteX2" fmla="*/ 127736 w 158948"/>
                <a:gd name="connsiteY2" fmla="*/ 99571 h 172875"/>
                <a:gd name="connsiteX3" fmla="*/ 127736 w 158948"/>
                <a:gd name="connsiteY3" fmla="*/ 99571 h 172875"/>
                <a:gd name="connsiteX4" fmla="*/ 124680 w 158948"/>
                <a:gd name="connsiteY4" fmla="*/ 98350 h 172875"/>
                <a:gd name="connsiteX5" fmla="*/ 116735 w 158948"/>
                <a:gd name="connsiteY5" fmla="*/ 95906 h 172875"/>
                <a:gd name="connsiteX6" fmla="*/ 106956 w 158948"/>
                <a:gd name="connsiteY6" fmla="*/ 93463 h 172875"/>
                <a:gd name="connsiteX7" fmla="*/ 101456 w 158948"/>
                <a:gd name="connsiteY7" fmla="*/ 83689 h 172875"/>
                <a:gd name="connsiteX8" fmla="*/ 124069 w 158948"/>
                <a:gd name="connsiteY8" fmla="*/ 44593 h 172875"/>
                <a:gd name="connsiteX9" fmla="*/ 79453 w 158948"/>
                <a:gd name="connsiteY9" fmla="*/ 0 h 172875"/>
                <a:gd name="connsiteX10" fmla="*/ 34837 w 158948"/>
                <a:gd name="connsiteY10" fmla="*/ 44593 h 172875"/>
                <a:gd name="connsiteX11" fmla="*/ 57451 w 158948"/>
                <a:gd name="connsiteY11" fmla="*/ 83689 h 172875"/>
                <a:gd name="connsiteX12" fmla="*/ 51950 w 158948"/>
                <a:gd name="connsiteY12" fmla="*/ 94074 h 172875"/>
                <a:gd name="connsiteX13" fmla="*/ 42171 w 158948"/>
                <a:gd name="connsiteY13" fmla="*/ 95906 h 172875"/>
                <a:gd name="connsiteX14" fmla="*/ 34226 w 158948"/>
                <a:gd name="connsiteY14" fmla="*/ 98350 h 172875"/>
                <a:gd name="connsiteX15" fmla="*/ 28726 w 158948"/>
                <a:gd name="connsiteY15" fmla="*/ 100182 h 172875"/>
                <a:gd name="connsiteX16" fmla="*/ 28726 w 158948"/>
                <a:gd name="connsiteY16" fmla="*/ 100182 h 172875"/>
                <a:gd name="connsiteX17" fmla="*/ 23225 w 158948"/>
                <a:gd name="connsiteY17" fmla="*/ 102626 h 172875"/>
                <a:gd name="connsiteX18" fmla="*/ 23225 w 158948"/>
                <a:gd name="connsiteY18" fmla="*/ 102626 h 172875"/>
                <a:gd name="connsiteX19" fmla="*/ 15891 w 158948"/>
                <a:gd name="connsiteY19" fmla="*/ 106291 h 172875"/>
                <a:gd name="connsiteX20" fmla="*/ 0 w 158948"/>
                <a:gd name="connsiteY20" fmla="*/ 132558 h 172875"/>
                <a:gd name="connsiteX21" fmla="*/ 0 w 158948"/>
                <a:gd name="connsiteY21" fmla="*/ 140499 h 172875"/>
                <a:gd name="connsiteX22" fmla="*/ 10390 w 158948"/>
                <a:gd name="connsiteY22" fmla="*/ 158215 h 172875"/>
                <a:gd name="connsiteX23" fmla="*/ 79453 w 158948"/>
                <a:gd name="connsiteY23" fmla="*/ 172875 h 172875"/>
                <a:gd name="connsiteX24" fmla="*/ 148517 w 158948"/>
                <a:gd name="connsiteY24" fmla="*/ 158215 h 172875"/>
                <a:gd name="connsiteX25" fmla="*/ 158907 w 158948"/>
                <a:gd name="connsiteY25" fmla="*/ 140499 h 172875"/>
                <a:gd name="connsiteX26" fmla="*/ 158907 w 158948"/>
                <a:gd name="connsiteY26" fmla="*/ 132558 h 172875"/>
                <a:gd name="connsiteX27" fmla="*/ 143627 w 158948"/>
                <a:gd name="connsiteY27" fmla="*/ 106291 h 172875"/>
                <a:gd name="connsiteX28" fmla="*/ 40338 w 158948"/>
                <a:gd name="connsiteY28" fmla="*/ 45204 h 172875"/>
                <a:gd name="connsiteX29" fmla="*/ 80064 w 158948"/>
                <a:gd name="connsiteY29" fmla="*/ 5498 h 172875"/>
                <a:gd name="connsiteX30" fmla="*/ 119791 w 158948"/>
                <a:gd name="connsiteY30" fmla="*/ 45204 h 172875"/>
                <a:gd name="connsiteX31" fmla="*/ 80064 w 158948"/>
                <a:gd name="connsiteY31" fmla="*/ 84911 h 172875"/>
                <a:gd name="connsiteX32" fmla="*/ 40338 w 158948"/>
                <a:gd name="connsiteY32" fmla="*/ 45204 h 172875"/>
                <a:gd name="connsiteX33" fmla="*/ 54395 w 158948"/>
                <a:gd name="connsiteY33" fmla="*/ 100182 h 172875"/>
                <a:gd name="connsiteX34" fmla="*/ 54395 w 158948"/>
                <a:gd name="connsiteY34" fmla="*/ 100182 h 172875"/>
                <a:gd name="connsiteX35" fmla="*/ 54395 w 158948"/>
                <a:gd name="connsiteY35" fmla="*/ 100182 h 172875"/>
                <a:gd name="connsiteX36" fmla="*/ 55006 w 158948"/>
                <a:gd name="connsiteY36" fmla="*/ 100182 h 172875"/>
                <a:gd name="connsiteX37" fmla="*/ 55617 w 158948"/>
                <a:gd name="connsiteY37" fmla="*/ 99571 h 172875"/>
                <a:gd name="connsiteX38" fmla="*/ 55617 w 158948"/>
                <a:gd name="connsiteY38" fmla="*/ 99571 h 172875"/>
                <a:gd name="connsiteX39" fmla="*/ 62951 w 158948"/>
                <a:gd name="connsiteY39" fmla="*/ 87354 h 172875"/>
                <a:gd name="connsiteX40" fmla="*/ 79453 w 158948"/>
                <a:gd name="connsiteY40" fmla="*/ 90408 h 172875"/>
                <a:gd name="connsiteX41" fmla="*/ 95955 w 158948"/>
                <a:gd name="connsiteY41" fmla="*/ 87354 h 172875"/>
                <a:gd name="connsiteX42" fmla="*/ 103289 w 158948"/>
                <a:gd name="connsiteY42" fmla="*/ 99571 h 172875"/>
                <a:gd name="connsiteX43" fmla="*/ 103289 w 158948"/>
                <a:gd name="connsiteY43" fmla="*/ 99571 h 172875"/>
                <a:gd name="connsiteX44" fmla="*/ 103901 w 158948"/>
                <a:gd name="connsiteY44" fmla="*/ 100182 h 172875"/>
                <a:gd name="connsiteX45" fmla="*/ 104512 w 158948"/>
                <a:gd name="connsiteY45" fmla="*/ 100182 h 172875"/>
                <a:gd name="connsiteX46" fmla="*/ 104512 w 158948"/>
                <a:gd name="connsiteY46" fmla="*/ 100182 h 172875"/>
                <a:gd name="connsiteX47" fmla="*/ 108179 w 158948"/>
                <a:gd name="connsiteY47" fmla="*/ 100793 h 172875"/>
                <a:gd name="connsiteX48" fmla="*/ 79453 w 158948"/>
                <a:gd name="connsiteY48" fmla="*/ 119730 h 172875"/>
                <a:gd name="connsiteX49" fmla="*/ 50728 w 158948"/>
                <a:gd name="connsiteY49" fmla="*/ 101404 h 172875"/>
                <a:gd name="connsiteX50" fmla="*/ 54395 w 158948"/>
                <a:gd name="connsiteY50" fmla="*/ 100182 h 172875"/>
                <a:gd name="connsiteX51" fmla="*/ 146072 w 158948"/>
                <a:gd name="connsiteY51" fmla="*/ 153939 h 172875"/>
                <a:gd name="connsiteX52" fmla="*/ 79453 w 158948"/>
                <a:gd name="connsiteY52" fmla="*/ 167988 h 172875"/>
                <a:gd name="connsiteX53" fmla="*/ 12835 w 158948"/>
                <a:gd name="connsiteY53" fmla="*/ 153939 h 172875"/>
                <a:gd name="connsiteX54" fmla="*/ 5500 w 158948"/>
                <a:gd name="connsiteY54" fmla="*/ 141110 h 172875"/>
                <a:gd name="connsiteX55" fmla="*/ 5500 w 158948"/>
                <a:gd name="connsiteY55" fmla="*/ 133169 h 172875"/>
                <a:gd name="connsiteX56" fmla="*/ 18335 w 158948"/>
                <a:gd name="connsiteY56" fmla="*/ 111789 h 172875"/>
                <a:gd name="connsiteX57" fmla="*/ 35448 w 158948"/>
                <a:gd name="connsiteY57" fmla="*/ 104458 h 172875"/>
                <a:gd name="connsiteX58" fmla="*/ 43394 w 158948"/>
                <a:gd name="connsiteY58" fmla="*/ 102015 h 172875"/>
                <a:gd name="connsiteX59" fmla="*/ 44616 w 158948"/>
                <a:gd name="connsiteY59" fmla="*/ 102015 h 172875"/>
                <a:gd name="connsiteX60" fmla="*/ 78842 w 158948"/>
                <a:gd name="connsiteY60" fmla="*/ 125228 h 172875"/>
                <a:gd name="connsiteX61" fmla="*/ 113068 w 158948"/>
                <a:gd name="connsiteY61" fmla="*/ 102015 h 172875"/>
                <a:gd name="connsiteX62" fmla="*/ 114291 w 158948"/>
                <a:gd name="connsiteY62" fmla="*/ 102626 h 172875"/>
                <a:gd name="connsiteX63" fmla="*/ 122236 w 158948"/>
                <a:gd name="connsiteY63" fmla="*/ 105069 h 172875"/>
                <a:gd name="connsiteX64" fmla="*/ 139349 w 158948"/>
                <a:gd name="connsiteY64" fmla="*/ 112400 h 172875"/>
                <a:gd name="connsiteX65" fmla="*/ 152184 w 158948"/>
                <a:gd name="connsiteY65" fmla="*/ 133780 h 172875"/>
                <a:gd name="connsiteX66" fmla="*/ 152184 w 158948"/>
                <a:gd name="connsiteY66" fmla="*/ 141721 h 172875"/>
                <a:gd name="connsiteX67" fmla="*/ 146072 w 158948"/>
                <a:gd name="connsiteY67" fmla="*/ 153939 h 172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158948" h="172875">
                  <a:moveTo>
                    <a:pt x="143627" y="106291"/>
                  </a:moveTo>
                  <a:cubicBezTo>
                    <a:pt x="142405" y="105680"/>
                    <a:pt x="141182" y="105069"/>
                    <a:pt x="139960" y="104458"/>
                  </a:cubicBezTo>
                  <a:cubicBezTo>
                    <a:pt x="136904" y="102626"/>
                    <a:pt x="127736" y="99571"/>
                    <a:pt x="127736" y="99571"/>
                  </a:cubicBezTo>
                  <a:lnTo>
                    <a:pt x="127736" y="99571"/>
                  </a:lnTo>
                  <a:cubicBezTo>
                    <a:pt x="126514" y="98961"/>
                    <a:pt x="125903" y="98961"/>
                    <a:pt x="124680" y="98350"/>
                  </a:cubicBezTo>
                  <a:cubicBezTo>
                    <a:pt x="121625" y="97128"/>
                    <a:pt x="119180" y="96517"/>
                    <a:pt x="116735" y="95906"/>
                  </a:cubicBezTo>
                  <a:cubicBezTo>
                    <a:pt x="113679" y="94684"/>
                    <a:pt x="110012" y="94074"/>
                    <a:pt x="106956" y="93463"/>
                  </a:cubicBezTo>
                  <a:cubicBezTo>
                    <a:pt x="104512" y="91019"/>
                    <a:pt x="102678" y="87354"/>
                    <a:pt x="101456" y="83689"/>
                  </a:cubicBezTo>
                  <a:cubicBezTo>
                    <a:pt x="114902" y="75748"/>
                    <a:pt x="124069" y="61698"/>
                    <a:pt x="124069" y="44593"/>
                  </a:cubicBezTo>
                  <a:cubicBezTo>
                    <a:pt x="124069" y="20159"/>
                    <a:pt x="103901" y="0"/>
                    <a:pt x="79453" y="0"/>
                  </a:cubicBezTo>
                  <a:cubicBezTo>
                    <a:pt x="55006" y="0"/>
                    <a:pt x="34837" y="20159"/>
                    <a:pt x="34837" y="44593"/>
                  </a:cubicBezTo>
                  <a:cubicBezTo>
                    <a:pt x="34837" y="61087"/>
                    <a:pt x="44005" y="75748"/>
                    <a:pt x="57451" y="83689"/>
                  </a:cubicBezTo>
                  <a:cubicBezTo>
                    <a:pt x="56229" y="87354"/>
                    <a:pt x="54395" y="91019"/>
                    <a:pt x="51950" y="94074"/>
                  </a:cubicBezTo>
                  <a:cubicBezTo>
                    <a:pt x="45838" y="95295"/>
                    <a:pt x="42171" y="95906"/>
                    <a:pt x="42171" y="95906"/>
                  </a:cubicBezTo>
                  <a:cubicBezTo>
                    <a:pt x="39727" y="96517"/>
                    <a:pt x="37282" y="97128"/>
                    <a:pt x="34226" y="98350"/>
                  </a:cubicBezTo>
                  <a:cubicBezTo>
                    <a:pt x="32392" y="98961"/>
                    <a:pt x="30559" y="99571"/>
                    <a:pt x="28726" y="100182"/>
                  </a:cubicBezTo>
                  <a:cubicBezTo>
                    <a:pt x="28726" y="100182"/>
                    <a:pt x="28726" y="100182"/>
                    <a:pt x="28726" y="100182"/>
                  </a:cubicBezTo>
                  <a:cubicBezTo>
                    <a:pt x="26892" y="100793"/>
                    <a:pt x="25058" y="102015"/>
                    <a:pt x="23225" y="102626"/>
                  </a:cubicBezTo>
                  <a:cubicBezTo>
                    <a:pt x="23225" y="102626"/>
                    <a:pt x="23225" y="102626"/>
                    <a:pt x="23225" y="102626"/>
                  </a:cubicBezTo>
                  <a:cubicBezTo>
                    <a:pt x="20780" y="103847"/>
                    <a:pt x="18335" y="105069"/>
                    <a:pt x="15891" y="106291"/>
                  </a:cubicBezTo>
                  <a:cubicBezTo>
                    <a:pt x="6112" y="111178"/>
                    <a:pt x="0" y="121563"/>
                    <a:pt x="0" y="132558"/>
                  </a:cubicBezTo>
                  <a:lnTo>
                    <a:pt x="0" y="140499"/>
                  </a:lnTo>
                  <a:cubicBezTo>
                    <a:pt x="0" y="147830"/>
                    <a:pt x="4278" y="154549"/>
                    <a:pt x="10390" y="158215"/>
                  </a:cubicBezTo>
                  <a:cubicBezTo>
                    <a:pt x="22614" y="164934"/>
                    <a:pt x="45227" y="172875"/>
                    <a:pt x="79453" y="172875"/>
                  </a:cubicBezTo>
                  <a:cubicBezTo>
                    <a:pt x="113679" y="172875"/>
                    <a:pt x="136293" y="164934"/>
                    <a:pt x="148517" y="158215"/>
                  </a:cubicBezTo>
                  <a:cubicBezTo>
                    <a:pt x="155239" y="154549"/>
                    <a:pt x="158907" y="147830"/>
                    <a:pt x="158907" y="140499"/>
                  </a:cubicBezTo>
                  <a:lnTo>
                    <a:pt x="158907" y="132558"/>
                  </a:lnTo>
                  <a:cubicBezTo>
                    <a:pt x="159518" y="121563"/>
                    <a:pt x="153406" y="111789"/>
                    <a:pt x="143627" y="106291"/>
                  </a:cubicBezTo>
                  <a:close/>
                  <a:moveTo>
                    <a:pt x="40338" y="45204"/>
                  </a:moveTo>
                  <a:cubicBezTo>
                    <a:pt x="40338" y="23213"/>
                    <a:pt x="58062" y="5498"/>
                    <a:pt x="80064" y="5498"/>
                  </a:cubicBezTo>
                  <a:cubicBezTo>
                    <a:pt x="102067" y="5498"/>
                    <a:pt x="119791" y="23213"/>
                    <a:pt x="119791" y="45204"/>
                  </a:cubicBezTo>
                  <a:cubicBezTo>
                    <a:pt x="119791" y="67195"/>
                    <a:pt x="102067" y="84911"/>
                    <a:pt x="80064" y="84911"/>
                  </a:cubicBezTo>
                  <a:cubicBezTo>
                    <a:pt x="58062" y="84911"/>
                    <a:pt x="40338" y="67195"/>
                    <a:pt x="40338" y="45204"/>
                  </a:cubicBezTo>
                  <a:close/>
                  <a:moveTo>
                    <a:pt x="54395" y="100182"/>
                  </a:moveTo>
                  <a:lnTo>
                    <a:pt x="54395" y="100182"/>
                  </a:lnTo>
                  <a:cubicBezTo>
                    <a:pt x="55006" y="100182"/>
                    <a:pt x="55006" y="100182"/>
                    <a:pt x="54395" y="100182"/>
                  </a:cubicBezTo>
                  <a:cubicBezTo>
                    <a:pt x="55006" y="100182"/>
                    <a:pt x="55006" y="100182"/>
                    <a:pt x="55006" y="100182"/>
                  </a:cubicBezTo>
                  <a:lnTo>
                    <a:pt x="55617" y="99571"/>
                  </a:lnTo>
                  <a:cubicBezTo>
                    <a:pt x="55617" y="99571"/>
                    <a:pt x="55617" y="99571"/>
                    <a:pt x="55617" y="99571"/>
                  </a:cubicBezTo>
                  <a:cubicBezTo>
                    <a:pt x="59285" y="95906"/>
                    <a:pt x="61729" y="91630"/>
                    <a:pt x="62951" y="87354"/>
                  </a:cubicBezTo>
                  <a:cubicBezTo>
                    <a:pt x="67841" y="89187"/>
                    <a:pt x="73342" y="90408"/>
                    <a:pt x="79453" y="90408"/>
                  </a:cubicBezTo>
                  <a:cubicBezTo>
                    <a:pt x="85565" y="90408"/>
                    <a:pt x="91066" y="89187"/>
                    <a:pt x="95955" y="87354"/>
                  </a:cubicBezTo>
                  <a:cubicBezTo>
                    <a:pt x="97177" y="91630"/>
                    <a:pt x="99622" y="95906"/>
                    <a:pt x="103289" y="99571"/>
                  </a:cubicBezTo>
                  <a:cubicBezTo>
                    <a:pt x="103289" y="99571"/>
                    <a:pt x="103289" y="99571"/>
                    <a:pt x="103289" y="99571"/>
                  </a:cubicBezTo>
                  <a:cubicBezTo>
                    <a:pt x="103289" y="99571"/>
                    <a:pt x="103901" y="99571"/>
                    <a:pt x="103901" y="100182"/>
                  </a:cubicBezTo>
                  <a:cubicBezTo>
                    <a:pt x="103901" y="100182"/>
                    <a:pt x="104512" y="100182"/>
                    <a:pt x="104512" y="100182"/>
                  </a:cubicBezTo>
                  <a:cubicBezTo>
                    <a:pt x="104512" y="100182"/>
                    <a:pt x="104512" y="100182"/>
                    <a:pt x="104512" y="100182"/>
                  </a:cubicBezTo>
                  <a:cubicBezTo>
                    <a:pt x="105734" y="100182"/>
                    <a:pt x="106956" y="100793"/>
                    <a:pt x="108179" y="100793"/>
                  </a:cubicBezTo>
                  <a:cubicBezTo>
                    <a:pt x="106956" y="111178"/>
                    <a:pt x="94733" y="119730"/>
                    <a:pt x="79453" y="119730"/>
                  </a:cubicBezTo>
                  <a:cubicBezTo>
                    <a:pt x="64174" y="119730"/>
                    <a:pt x="52561" y="111789"/>
                    <a:pt x="50728" y="101404"/>
                  </a:cubicBezTo>
                  <a:cubicBezTo>
                    <a:pt x="51950" y="100182"/>
                    <a:pt x="53173" y="100182"/>
                    <a:pt x="54395" y="100182"/>
                  </a:cubicBezTo>
                  <a:close/>
                  <a:moveTo>
                    <a:pt x="146072" y="153939"/>
                  </a:moveTo>
                  <a:cubicBezTo>
                    <a:pt x="136293" y="159436"/>
                    <a:pt x="114902" y="167988"/>
                    <a:pt x="79453" y="167988"/>
                  </a:cubicBezTo>
                  <a:cubicBezTo>
                    <a:pt x="44616" y="167988"/>
                    <a:pt x="22614" y="159436"/>
                    <a:pt x="12835" y="153939"/>
                  </a:cubicBezTo>
                  <a:cubicBezTo>
                    <a:pt x="8556" y="151495"/>
                    <a:pt x="5500" y="146608"/>
                    <a:pt x="5500" y="141110"/>
                  </a:cubicBezTo>
                  <a:lnTo>
                    <a:pt x="5500" y="133169"/>
                  </a:lnTo>
                  <a:cubicBezTo>
                    <a:pt x="5500" y="124006"/>
                    <a:pt x="10390" y="116065"/>
                    <a:pt x="18335" y="111789"/>
                  </a:cubicBezTo>
                  <a:cubicBezTo>
                    <a:pt x="23836" y="108734"/>
                    <a:pt x="29948" y="106291"/>
                    <a:pt x="35448" y="104458"/>
                  </a:cubicBezTo>
                  <a:cubicBezTo>
                    <a:pt x="38504" y="103237"/>
                    <a:pt x="40949" y="102626"/>
                    <a:pt x="43394" y="102015"/>
                  </a:cubicBezTo>
                  <a:lnTo>
                    <a:pt x="44616" y="102015"/>
                  </a:lnTo>
                  <a:cubicBezTo>
                    <a:pt x="47061" y="114843"/>
                    <a:pt x="61729" y="125228"/>
                    <a:pt x="78842" y="125228"/>
                  </a:cubicBezTo>
                  <a:cubicBezTo>
                    <a:pt x="95955" y="125228"/>
                    <a:pt x="110623" y="114843"/>
                    <a:pt x="113068" y="102015"/>
                  </a:cubicBezTo>
                  <a:cubicBezTo>
                    <a:pt x="113679" y="102015"/>
                    <a:pt x="113679" y="102015"/>
                    <a:pt x="114291" y="102626"/>
                  </a:cubicBezTo>
                  <a:cubicBezTo>
                    <a:pt x="116735" y="103237"/>
                    <a:pt x="119180" y="103847"/>
                    <a:pt x="122236" y="105069"/>
                  </a:cubicBezTo>
                  <a:cubicBezTo>
                    <a:pt x="128348" y="106902"/>
                    <a:pt x="133848" y="109345"/>
                    <a:pt x="139349" y="112400"/>
                  </a:cubicBezTo>
                  <a:cubicBezTo>
                    <a:pt x="147294" y="116676"/>
                    <a:pt x="152184" y="124617"/>
                    <a:pt x="152184" y="133780"/>
                  </a:cubicBezTo>
                  <a:lnTo>
                    <a:pt x="152184" y="141721"/>
                  </a:lnTo>
                  <a:cubicBezTo>
                    <a:pt x="153406" y="146608"/>
                    <a:pt x="150962" y="150884"/>
                    <a:pt x="146072" y="153939"/>
                  </a:cubicBezTo>
                  <a:close/>
                </a:path>
              </a:pathLst>
            </a:custGeom>
            <a:solidFill>
              <a:srgbClr val="2473B9"/>
            </a:solidFill>
            <a:ln w="61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</p:grpSp>
      <p:grpSp>
        <p:nvGrpSpPr>
          <p:cNvPr id="61" name="Group 60">
            <a:extLst>
              <a:ext uri="{FF2B5EF4-FFF2-40B4-BE49-F238E27FC236}">
                <a16:creationId xmlns:a16="http://schemas.microsoft.com/office/drawing/2014/main" id="{AFF44463-C1A8-8145-BC24-FE8B61A904DC}"/>
              </a:ext>
            </a:extLst>
          </p:cNvPr>
          <p:cNvGrpSpPr/>
          <p:nvPr/>
        </p:nvGrpSpPr>
        <p:grpSpPr>
          <a:xfrm>
            <a:off x="6618604" y="4596237"/>
            <a:ext cx="853440" cy="853440"/>
            <a:chOff x="4243624" y="656353"/>
            <a:chExt cx="640080" cy="640080"/>
          </a:xfrm>
        </p:grpSpPr>
        <p:sp>
          <p:nvSpPr>
            <p:cNvPr id="62" name="Oval 61">
              <a:extLst>
                <a:ext uri="{FF2B5EF4-FFF2-40B4-BE49-F238E27FC236}">
                  <a16:creationId xmlns:a16="http://schemas.microsoft.com/office/drawing/2014/main" id="{E73E4CFC-83E4-DE4F-A4B4-F0F8D31E1804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243624" y="656353"/>
              <a:ext cx="640080" cy="64008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63" name="Graphic 11">
              <a:extLst>
                <a:ext uri="{FF2B5EF4-FFF2-40B4-BE49-F238E27FC236}">
                  <a16:creationId xmlns:a16="http://schemas.microsoft.com/office/drawing/2014/main" id="{9298A576-39C5-5941-BD22-297467A19455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378703" y="775225"/>
              <a:ext cx="369923" cy="402336"/>
            </a:xfrm>
            <a:custGeom>
              <a:avLst/>
              <a:gdLst>
                <a:gd name="connsiteX0" fmla="*/ 143627 w 158948"/>
                <a:gd name="connsiteY0" fmla="*/ 106291 h 172875"/>
                <a:gd name="connsiteX1" fmla="*/ 139960 w 158948"/>
                <a:gd name="connsiteY1" fmla="*/ 104458 h 172875"/>
                <a:gd name="connsiteX2" fmla="*/ 127736 w 158948"/>
                <a:gd name="connsiteY2" fmla="*/ 99571 h 172875"/>
                <a:gd name="connsiteX3" fmla="*/ 127736 w 158948"/>
                <a:gd name="connsiteY3" fmla="*/ 99571 h 172875"/>
                <a:gd name="connsiteX4" fmla="*/ 124680 w 158948"/>
                <a:gd name="connsiteY4" fmla="*/ 98350 h 172875"/>
                <a:gd name="connsiteX5" fmla="*/ 116735 w 158948"/>
                <a:gd name="connsiteY5" fmla="*/ 95906 h 172875"/>
                <a:gd name="connsiteX6" fmla="*/ 106956 w 158948"/>
                <a:gd name="connsiteY6" fmla="*/ 93463 h 172875"/>
                <a:gd name="connsiteX7" fmla="*/ 101456 w 158948"/>
                <a:gd name="connsiteY7" fmla="*/ 83689 h 172875"/>
                <a:gd name="connsiteX8" fmla="*/ 124069 w 158948"/>
                <a:gd name="connsiteY8" fmla="*/ 44593 h 172875"/>
                <a:gd name="connsiteX9" fmla="*/ 79453 w 158948"/>
                <a:gd name="connsiteY9" fmla="*/ 0 h 172875"/>
                <a:gd name="connsiteX10" fmla="*/ 34837 w 158948"/>
                <a:gd name="connsiteY10" fmla="*/ 44593 h 172875"/>
                <a:gd name="connsiteX11" fmla="*/ 57451 w 158948"/>
                <a:gd name="connsiteY11" fmla="*/ 83689 h 172875"/>
                <a:gd name="connsiteX12" fmla="*/ 51950 w 158948"/>
                <a:gd name="connsiteY12" fmla="*/ 94074 h 172875"/>
                <a:gd name="connsiteX13" fmla="*/ 42171 w 158948"/>
                <a:gd name="connsiteY13" fmla="*/ 95906 h 172875"/>
                <a:gd name="connsiteX14" fmla="*/ 34226 w 158948"/>
                <a:gd name="connsiteY14" fmla="*/ 98350 h 172875"/>
                <a:gd name="connsiteX15" fmla="*/ 28726 w 158948"/>
                <a:gd name="connsiteY15" fmla="*/ 100182 h 172875"/>
                <a:gd name="connsiteX16" fmla="*/ 28726 w 158948"/>
                <a:gd name="connsiteY16" fmla="*/ 100182 h 172875"/>
                <a:gd name="connsiteX17" fmla="*/ 23225 w 158948"/>
                <a:gd name="connsiteY17" fmla="*/ 102626 h 172875"/>
                <a:gd name="connsiteX18" fmla="*/ 23225 w 158948"/>
                <a:gd name="connsiteY18" fmla="*/ 102626 h 172875"/>
                <a:gd name="connsiteX19" fmla="*/ 15891 w 158948"/>
                <a:gd name="connsiteY19" fmla="*/ 106291 h 172875"/>
                <a:gd name="connsiteX20" fmla="*/ 0 w 158948"/>
                <a:gd name="connsiteY20" fmla="*/ 132558 h 172875"/>
                <a:gd name="connsiteX21" fmla="*/ 0 w 158948"/>
                <a:gd name="connsiteY21" fmla="*/ 140499 h 172875"/>
                <a:gd name="connsiteX22" fmla="*/ 10390 w 158948"/>
                <a:gd name="connsiteY22" fmla="*/ 158215 h 172875"/>
                <a:gd name="connsiteX23" fmla="*/ 79453 w 158948"/>
                <a:gd name="connsiteY23" fmla="*/ 172875 h 172875"/>
                <a:gd name="connsiteX24" fmla="*/ 148517 w 158948"/>
                <a:gd name="connsiteY24" fmla="*/ 158215 h 172875"/>
                <a:gd name="connsiteX25" fmla="*/ 158907 w 158948"/>
                <a:gd name="connsiteY25" fmla="*/ 140499 h 172875"/>
                <a:gd name="connsiteX26" fmla="*/ 158907 w 158948"/>
                <a:gd name="connsiteY26" fmla="*/ 132558 h 172875"/>
                <a:gd name="connsiteX27" fmla="*/ 143627 w 158948"/>
                <a:gd name="connsiteY27" fmla="*/ 106291 h 172875"/>
                <a:gd name="connsiteX28" fmla="*/ 40338 w 158948"/>
                <a:gd name="connsiteY28" fmla="*/ 45204 h 172875"/>
                <a:gd name="connsiteX29" fmla="*/ 80064 w 158948"/>
                <a:gd name="connsiteY29" fmla="*/ 5498 h 172875"/>
                <a:gd name="connsiteX30" fmla="*/ 119791 w 158948"/>
                <a:gd name="connsiteY30" fmla="*/ 45204 h 172875"/>
                <a:gd name="connsiteX31" fmla="*/ 80064 w 158948"/>
                <a:gd name="connsiteY31" fmla="*/ 84911 h 172875"/>
                <a:gd name="connsiteX32" fmla="*/ 40338 w 158948"/>
                <a:gd name="connsiteY32" fmla="*/ 45204 h 172875"/>
                <a:gd name="connsiteX33" fmla="*/ 54395 w 158948"/>
                <a:gd name="connsiteY33" fmla="*/ 100182 h 172875"/>
                <a:gd name="connsiteX34" fmla="*/ 54395 w 158948"/>
                <a:gd name="connsiteY34" fmla="*/ 100182 h 172875"/>
                <a:gd name="connsiteX35" fmla="*/ 54395 w 158948"/>
                <a:gd name="connsiteY35" fmla="*/ 100182 h 172875"/>
                <a:gd name="connsiteX36" fmla="*/ 55006 w 158948"/>
                <a:gd name="connsiteY36" fmla="*/ 100182 h 172875"/>
                <a:gd name="connsiteX37" fmla="*/ 55617 w 158948"/>
                <a:gd name="connsiteY37" fmla="*/ 99571 h 172875"/>
                <a:gd name="connsiteX38" fmla="*/ 55617 w 158948"/>
                <a:gd name="connsiteY38" fmla="*/ 99571 h 172875"/>
                <a:gd name="connsiteX39" fmla="*/ 62951 w 158948"/>
                <a:gd name="connsiteY39" fmla="*/ 87354 h 172875"/>
                <a:gd name="connsiteX40" fmla="*/ 79453 w 158948"/>
                <a:gd name="connsiteY40" fmla="*/ 90408 h 172875"/>
                <a:gd name="connsiteX41" fmla="*/ 95955 w 158948"/>
                <a:gd name="connsiteY41" fmla="*/ 87354 h 172875"/>
                <a:gd name="connsiteX42" fmla="*/ 103289 w 158948"/>
                <a:gd name="connsiteY42" fmla="*/ 99571 h 172875"/>
                <a:gd name="connsiteX43" fmla="*/ 103289 w 158948"/>
                <a:gd name="connsiteY43" fmla="*/ 99571 h 172875"/>
                <a:gd name="connsiteX44" fmla="*/ 103901 w 158948"/>
                <a:gd name="connsiteY44" fmla="*/ 100182 h 172875"/>
                <a:gd name="connsiteX45" fmla="*/ 104512 w 158948"/>
                <a:gd name="connsiteY45" fmla="*/ 100182 h 172875"/>
                <a:gd name="connsiteX46" fmla="*/ 104512 w 158948"/>
                <a:gd name="connsiteY46" fmla="*/ 100182 h 172875"/>
                <a:gd name="connsiteX47" fmla="*/ 108179 w 158948"/>
                <a:gd name="connsiteY47" fmla="*/ 100793 h 172875"/>
                <a:gd name="connsiteX48" fmla="*/ 79453 w 158948"/>
                <a:gd name="connsiteY48" fmla="*/ 119730 h 172875"/>
                <a:gd name="connsiteX49" fmla="*/ 50728 w 158948"/>
                <a:gd name="connsiteY49" fmla="*/ 101404 h 172875"/>
                <a:gd name="connsiteX50" fmla="*/ 54395 w 158948"/>
                <a:gd name="connsiteY50" fmla="*/ 100182 h 172875"/>
                <a:gd name="connsiteX51" fmla="*/ 146072 w 158948"/>
                <a:gd name="connsiteY51" fmla="*/ 153939 h 172875"/>
                <a:gd name="connsiteX52" fmla="*/ 79453 w 158948"/>
                <a:gd name="connsiteY52" fmla="*/ 167988 h 172875"/>
                <a:gd name="connsiteX53" fmla="*/ 12835 w 158948"/>
                <a:gd name="connsiteY53" fmla="*/ 153939 h 172875"/>
                <a:gd name="connsiteX54" fmla="*/ 5500 w 158948"/>
                <a:gd name="connsiteY54" fmla="*/ 141110 h 172875"/>
                <a:gd name="connsiteX55" fmla="*/ 5500 w 158948"/>
                <a:gd name="connsiteY55" fmla="*/ 133169 h 172875"/>
                <a:gd name="connsiteX56" fmla="*/ 18335 w 158948"/>
                <a:gd name="connsiteY56" fmla="*/ 111789 h 172875"/>
                <a:gd name="connsiteX57" fmla="*/ 35448 w 158948"/>
                <a:gd name="connsiteY57" fmla="*/ 104458 h 172875"/>
                <a:gd name="connsiteX58" fmla="*/ 43394 w 158948"/>
                <a:gd name="connsiteY58" fmla="*/ 102015 h 172875"/>
                <a:gd name="connsiteX59" fmla="*/ 44616 w 158948"/>
                <a:gd name="connsiteY59" fmla="*/ 102015 h 172875"/>
                <a:gd name="connsiteX60" fmla="*/ 78842 w 158948"/>
                <a:gd name="connsiteY60" fmla="*/ 125228 h 172875"/>
                <a:gd name="connsiteX61" fmla="*/ 113068 w 158948"/>
                <a:gd name="connsiteY61" fmla="*/ 102015 h 172875"/>
                <a:gd name="connsiteX62" fmla="*/ 114291 w 158948"/>
                <a:gd name="connsiteY62" fmla="*/ 102626 h 172875"/>
                <a:gd name="connsiteX63" fmla="*/ 122236 w 158948"/>
                <a:gd name="connsiteY63" fmla="*/ 105069 h 172875"/>
                <a:gd name="connsiteX64" fmla="*/ 139349 w 158948"/>
                <a:gd name="connsiteY64" fmla="*/ 112400 h 172875"/>
                <a:gd name="connsiteX65" fmla="*/ 152184 w 158948"/>
                <a:gd name="connsiteY65" fmla="*/ 133780 h 172875"/>
                <a:gd name="connsiteX66" fmla="*/ 152184 w 158948"/>
                <a:gd name="connsiteY66" fmla="*/ 141721 h 172875"/>
                <a:gd name="connsiteX67" fmla="*/ 146072 w 158948"/>
                <a:gd name="connsiteY67" fmla="*/ 153939 h 172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158948" h="172875">
                  <a:moveTo>
                    <a:pt x="143627" y="106291"/>
                  </a:moveTo>
                  <a:cubicBezTo>
                    <a:pt x="142405" y="105680"/>
                    <a:pt x="141182" y="105069"/>
                    <a:pt x="139960" y="104458"/>
                  </a:cubicBezTo>
                  <a:cubicBezTo>
                    <a:pt x="136904" y="102626"/>
                    <a:pt x="127736" y="99571"/>
                    <a:pt x="127736" y="99571"/>
                  </a:cubicBezTo>
                  <a:lnTo>
                    <a:pt x="127736" y="99571"/>
                  </a:lnTo>
                  <a:cubicBezTo>
                    <a:pt x="126514" y="98961"/>
                    <a:pt x="125903" y="98961"/>
                    <a:pt x="124680" y="98350"/>
                  </a:cubicBezTo>
                  <a:cubicBezTo>
                    <a:pt x="121625" y="97128"/>
                    <a:pt x="119180" y="96517"/>
                    <a:pt x="116735" y="95906"/>
                  </a:cubicBezTo>
                  <a:cubicBezTo>
                    <a:pt x="113679" y="94684"/>
                    <a:pt x="110012" y="94074"/>
                    <a:pt x="106956" y="93463"/>
                  </a:cubicBezTo>
                  <a:cubicBezTo>
                    <a:pt x="104512" y="91019"/>
                    <a:pt x="102678" y="87354"/>
                    <a:pt x="101456" y="83689"/>
                  </a:cubicBezTo>
                  <a:cubicBezTo>
                    <a:pt x="114902" y="75748"/>
                    <a:pt x="124069" y="61698"/>
                    <a:pt x="124069" y="44593"/>
                  </a:cubicBezTo>
                  <a:cubicBezTo>
                    <a:pt x="124069" y="20159"/>
                    <a:pt x="103901" y="0"/>
                    <a:pt x="79453" y="0"/>
                  </a:cubicBezTo>
                  <a:cubicBezTo>
                    <a:pt x="55006" y="0"/>
                    <a:pt x="34837" y="20159"/>
                    <a:pt x="34837" y="44593"/>
                  </a:cubicBezTo>
                  <a:cubicBezTo>
                    <a:pt x="34837" y="61087"/>
                    <a:pt x="44005" y="75748"/>
                    <a:pt x="57451" y="83689"/>
                  </a:cubicBezTo>
                  <a:cubicBezTo>
                    <a:pt x="56229" y="87354"/>
                    <a:pt x="54395" y="91019"/>
                    <a:pt x="51950" y="94074"/>
                  </a:cubicBezTo>
                  <a:cubicBezTo>
                    <a:pt x="45838" y="95295"/>
                    <a:pt x="42171" y="95906"/>
                    <a:pt x="42171" y="95906"/>
                  </a:cubicBezTo>
                  <a:cubicBezTo>
                    <a:pt x="39727" y="96517"/>
                    <a:pt x="37282" y="97128"/>
                    <a:pt x="34226" y="98350"/>
                  </a:cubicBezTo>
                  <a:cubicBezTo>
                    <a:pt x="32392" y="98961"/>
                    <a:pt x="30559" y="99571"/>
                    <a:pt x="28726" y="100182"/>
                  </a:cubicBezTo>
                  <a:cubicBezTo>
                    <a:pt x="28726" y="100182"/>
                    <a:pt x="28726" y="100182"/>
                    <a:pt x="28726" y="100182"/>
                  </a:cubicBezTo>
                  <a:cubicBezTo>
                    <a:pt x="26892" y="100793"/>
                    <a:pt x="25058" y="102015"/>
                    <a:pt x="23225" y="102626"/>
                  </a:cubicBezTo>
                  <a:cubicBezTo>
                    <a:pt x="23225" y="102626"/>
                    <a:pt x="23225" y="102626"/>
                    <a:pt x="23225" y="102626"/>
                  </a:cubicBezTo>
                  <a:cubicBezTo>
                    <a:pt x="20780" y="103847"/>
                    <a:pt x="18335" y="105069"/>
                    <a:pt x="15891" y="106291"/>
                  </a:cubicBezTo>
                  <a:cubicBezTo>
                    <a:pt x="6112" y="111178"/>
                    <a:pt x="0" y="121563"/>
                    <a:pt x="0" y="132558"/>
                  </a:cubicBezTo>
                  <a:lnTo>
                    <a:pt x="0" y="140499"/>
                  </a:lnTo>
                  <a:cubicBezTo>
                    <a:pt x="0" y="147830"/>
                    <a:pt x="4278" y="154549"/>
                    <a:pt x="10390" y="158215"/>
                  </a:cubicBezTo>
                  <a:cubicBezTo>
                    <a:pt x="22614" y="164934"/>
                    <a:pt x="45227" y="172875"/>
                    <a:pt x="79453" y="172875"/>
                  </a:cubicBezTo>
                  <a:cubicBezTo>
                    <a:pt x="113679" y="172875"/>
                    <a:pt x="136293" y="164934"/>
                    <a:pt x="148517" y="158215"/>
                  </a:cubicBezTo>
                  <a:cubicBezTo>
                    <a:pt x="155239" y="154549"/>
                    <a:pt x="158907" y="147830"/>
                    <a:pt x="158907" y="140499"/>
                  </a:cubicBezTo>
                  <a:lnTo>
                    <a:pt x="158907" y="132558"/>
                  </a:lnTo>
                  <a:cubicBezTo>
                    <a:pt x="159518" y="121563"/>
                    <a:pt x="153406" y="111789"/>
                    <a:pt x="143627" y="106291"/>
                  </a:cubicBezTo>
                  <a:close/>
                  <a:moveTo>
                    <a:pt x="40338" y="45204"/>
                  </a:moveTo>
                  <a:cubicBezTo>
                    <a:pt x="40338" y="23213"/>
                    <a:pt x="58062" y="5498"/>
                    <a:pt x="80064" y="5498"/>
                  </a:cubicBezTo>
                  <a:cubicBezTo>
                    <a:pt x="102067" y="5498"/>
                    <a:pt x="119791" y="23213"/>
                    <a:pt x="119791" y="45204"/>
                  </a:cubicBezTo>
                  <a:cubicBezTo>
                    <a:pt x="119791" y="67195"/>
                    <a:pt x="102067" y="84911"/>
                    <a:pt x="80064" y="84911"/>
                  </a:cubicBezTo>
                  <a:cubicBezTo>
                    <a:pt x="58062" y="84911"/>
                    <a:pt x="40338" y="67195"/>
                    <a:pt x="40338" y="45204"/>
                  </a:cubicBezTo>
                  <a:close/>
                  <a:moveTo>
                    <a:pt x="54395" y="100182"/>
                  </a:moveTo>
                  <a:lnTo>
                    <a:pt x="54395" y="100182"/>
                  </a:lnTo>
                  <a:cubicBezTo>
                    <a:pt x="55006" y="100182"/>
                    <a:pt x="55006" y="100182"/>
                    <a:pt x="54395" y="100182"/>
                  </a:cubicBezTo>
                  <a:cubicBezTo>
                    <a:pt x="55006" y="100182"/>
                    <a:pt x="55006" y="100182"/>
                    <a:pt x="55006" y="100182"/>
                  </a:cubicBezTo>
                  <a:lnTo>
                    <a:pt x="55617" y="99571"/>
                  </a:lnTo>
                  <a:cubicBezTo>
                    <a:pt x="55617" y="99571"/>
                    <a:pt x="55617" y="99571"/>
                    <a:pt x="55617" y="99571"/>
                  </a:cubicBezTo>
                  <a:cubicBezTo>
                    <a:pt x="59285" y="95906"/>
                    <a:pt x="61729" y="91630"/>
                    <a:pt x="62951" y="87354"/>
                  </a:cubicBezTo>
                  <a:cubicBezTo>
                    <a:pt x="67841" y="89187"/>
                    <a:pt x="73342" y="90408"/>
                    <a:pt x="79453" y="90408"/>
                  </a:cubicBezTo>
                  <a:cubicBezTo>
                    <a:pt x="85565" y="90408"/>
                    <a:pt x="91066" y="89187"/>
                    <a:pt x="95955" y="87354"/>
                  </a:cubicBezTo>
                  <a:cubicBezTo>
                    <a:pt x="97177" y="91630"/>
                    <a:pt x="99622" y="95906"/>
                    <a:pt x="103289" y="99571"/>
                  </a:cubicBezTo>
                  <a:cubicBezTo>
                    <a:pt x="103289" y="99571"/>
                    <a:pt x="103289" y="99571"/>
                    <a:pt x="103289" y="99571"/>
                  </a:cubicBezTo>
                  <a:cubicBezTo>
                    <a:pt x="103289" y="99571"/>
                    <a:pt x="103901" y="99571"/>
                    <a:pt x="103901" y="100182"/>
                  </a:cubicBezTo>
                  <a:cubicBezTo>
                    <a:pt x="103901" y="100182"/>
                    <a:pt x="104512" y="100182"/>
                    <a:pt x="104512" y="100182"/>
                  </a:cubicBezTo>
                  <a:cubicBezTo>
                    <a:pt x="104512" y="100182"/>
                    <a:pt x="104512" y="100182"/>
                    <a:pt x="104512" y="100182"/>
                  </a:cubicBezTo>
                  <a:cubicBezTo>
                    <a:pt x="105734" y="100182"/>
                    <a:pt x="106956" y="100793"/>
                    <a:pt x="108179" y="100793"/>
                  </a:cubicBezTo>
                  <a:cubicBezTo>
                    <a:pt x="106956" y="111178"/>
                    <a:pt x="94733" y="119730"/>
                    <a:pt x="79453" y="119730"/>
                  </a:cubicBezTo>
                  <a:cubicBezTo>
                    <a:pt x="64174" y="119730"/>
                    <a:pt x="52561" y="111789"/>
                    <a:pt x="50728" y="101404"/>
                  </a:cubicBezTo>
                  <a:cubicBezTo>
                    <a:pt x="51950" y="100182"/>
                    <a:pt x="53173" y="100182"/>
                    <a:pt x="54395" y="100182"/>
                  </a:cubicBezTo>
                  <a:close/>
                  <a:moveTo>
                    <a:pt x="146072" y="153939"/>
                  </a:moveTo>
                  <a:cubicBezTo>
                    <a:pt x="136293" y="159436"/>
                    <a:pt x="114902" y="167988"/>
                    <a:pt x="79453" y="167988"/>
                  </a:cubicBezTo>
                  <a:cubicBezTo>
                    <a:pt x="44616" y="167988"/>
                    <a:pt x="22614" y="159436"/>
                    <a:pt x="12835" y="153939"/>
                  </a:cubicBezTo>
                  <a:cubicBezTo>
                    <a:pt x="8556" y="151495"/>
                    <a:pt x="5500" y="146608"/>
                    <a:pt x="5500" y="141110"/>
                  </a:cubicBezTo>
                  <a:lnTo>
                    <a:pt x="5500" y="133169"/>
                  </a:lnTo>
                  <a:cubicBezTo>
                    <a:pt x="5500" y="124006"/>
                    <a:pt x="10390" y="116065"/>
                    <a:pt x="18335" y="111789"/>
                  </a:cubicBezTo>
                  <a:cubicBezTo>
                    <a:pt x="23836" y="108734"/>
                    <a:pt x="29948" y="106291"/>
                    <a:pt x="35448" y="104458"/>
                  </a:cubicBezTo>
                  <a:cubicBezTo>
                    <a:pt x="38504" y="103237"/>
                    <a:pt x="40949" y="102626"/>
                    <a:pt x="43394" y="102015"/>
                  </a:cubicBezTo>
                  <a:lnTo>
                    <a:pt x="44616" y="102015"/>
                  </a:lnTo>
                  <a:cubicBezTo>
                    <a:pt x="47061" y="114843"/>
                    <a:pt x="61729" y="125228"/>
                    <a:pt x="78842" y="125228"/>
                  </a:cubicBezTo>
                  <a:cubicBezTo>
                    <a:pt x="95955" y="125228"/>
                    <a:pt x="110623" y="114843"/>
                    <a:pt x="113068" y="102015"/>
                  </a:cubicBezTo>
                  <a:cubicBezTo>
                    <a:pt x="113679" y="102015"/>
                    <a:pt x="113679" y="102015"/>
                    <a:pt x="114291" y="102626"/>
                  </a:cubicBezTo>
                  <a:cubicBezTo>
                    <a:pt x="116735" y="103237"/>
                    <a:pt x="119180" y="103847"/>
                    <a:pt x="122236" y="105069"/>
                  </a:cubicBezTo>
                  <a:cubicBezTo>
                    <a:pt x="128348" y="106902"/>
                    <a:pt x="133848" y="109345"/>
                    <a:pt x="139349" y="112400"/>
                  </a:cubicBezTo>
                  <a:cubicBezTo>
                    <a:pt x="147294" y="116676"/>
                    <a:pt x="152184" y="124617"/>
                    <a:pt x="152184" y="133780"/>
                  </a:cubicBezTo>
                  <a:lnTo>
                    <a:pt x="152184" y="141721"/>
                  </a:lnTo>
                  <a:cubicBezTo>
                    <a:pt x="153406" y="146608"/>
                    <a:pt x="150962" y="150884"/>
                    <a:pt x="146072" y="153939"/>
                  </a:cubicBezTo>
                  <a:close/>
                </a:path>
              </a:pathLst>
            </a:custGeom>
            <a:solidFill>
              <a:srgbClr val="2473B9"/>
            </a:solidFill>
            <a:ln w="61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</p:grpSp>
      <p:grpSp>
        <p:nvGrpSpPr>
          <p:cNvPr id="64" name="Group 63">
            <a:extLst>
              <a:ext uri="{FF2B5EF4-FFF2-40B4-BE49-F238E27FC236}">
                <a16:creationId xmlns:a16="http://schemas.microsoft.com/office/drawing/2014/main" id="{4A36417C-096B-9844-9E16-B6FAE2074971}"/>
              </a:ext>
            </a:extLst>
          </p:cNvPr>
          <p:cNvGrpSpPr/>
          <p:nvPr/>
        </p:nvGrpSpPr>
        <p:grpSpPr>
          <a:xfrm>
            <a:off x="8542655" y="4596237"/>
            <a:ext cx="853440" cy="853440"/>
            <a:chOff x="4243624" y="656353"/>
            <a:chExt cx="640080" cy="640080"/>
          </a:xfrm>
        </p:grpSpPr>
        <p:sp>
          <p:nvSpPr>
            <p:cNvPr id="65" name="Oval 64">
              <a:extLst>
                <a:ext uri="{FF2B5EF4-FFF2-40B4-BE49-F238E27FC236}">
                  <a16:creationId xmlns:a16="http://schemas.microsoft.com/office/drawing/2014/main" id="{F7A7597D-2436-D947-9BE3-7EA31A78C4EA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243624" y="656353"/>
              <a:ext cx="640080" cy="64008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66" name="Graphic 11">
              <a:extLst>
                <a:ext uri="{FF2B5EF4-FFF2-40B4-BE49-F238E27FC236}">
                  <a16:creationId xmlns:a16="http://schemas.microsoft.com/office/drawing/2014/main" id="{5053372A-1C0E-4E41-88E0-D332985FCDFD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378703" y="775225"/>
              <a:ext cx="369923" cy="402336"/>
            </a:xfrm>
            <a:custGeom>
              <a:avLst/>
              <a:gdLst>
                <a:gd name="connsiteX0" fmla="*/ 143627 w 158948"/>
                <a:gd name="connsiteY0" fmla="*/ 106291 h 172875"/>
                <a:gd name="connsiteX1" fmla="*/ 139960 w 158948"/>
                <a:gd name="connsiteY1" fmla="*/ 104458 h 172875"/>
                <a:gd name="connsiteX2" fmla="*/ 127736 w 158948"/>
                <a:gd name="connsiteY2" fmla="*/ 99571 h 172875"/>
                <a:gd name="connsiteX3" fmla="*/ 127736 w 158948"/>
                <a:gd name="connsiteY3" fmla="*/ 99571 h 172875"/>
                <a:gd name="connsiteX4" fmla="*/ 124680 w 158948"/>
                <a:gd name="connsiteY4" fmla="*/ 98350 h 172875"/>
                <a:gd name="connsiteX5" fmla="*/ 116735 w 158948"/>
                <a:gd name="connsiteY5" fmla="*/ 95906 h 172875"/>
                <a:gd name="connsiteX6" fmla="*/ 106956 w 158948"/>
                <a:gd name="connsiteY6" fmla="*/ 93463 h 172875"/>
                <a:gd name="connsiteX7" fmla="*/ 101456 w 158948"/>
                <a:gd name="connsiteY7" fmla="*/ 83689 h 172875"/>
                <a:gd name="connsiteX8" fmla="*/ 124069 w 158948"/>
                <a:gd name="connsiteY8" fmla="*/ 44593 h 172875"/>
                <a:gd name="connsiteX9" fmla="*/ 79453 w 158948"/>
                <a:gd name="connsiteY9" fmla="*/ 0 h 172875"/>
                <a:gd name="connsiteX10" fmla="*/ 34837 w 158948"/>
                <a:gd name="connsiteY10" fmla="*/ 44593 h 172875"/>
                <a:gd name="connsiteX11" fmla="*/ 57451 w 158948"/>
                <a:gd name="connsiteY11" fmla="*/ 83689 h 172875"/>
                <a:gd name="connsiteX12" fmla="*/ 51950 w 158948"/>
                <a:gd name="connsiteY12" fmla="*/ 94074 h 172875"/>
                <a:gd name="connsiteX13" fmla="*/ 42171 w 158948"/>
                <a:gd name="connsiteY13" fmla="*/ 95906 h 172875"/>
                <a:gd name="connsiteX14" fmla="*/ 34226 w 158948"/>
                <a:gd name="connsiteY14" fmla="*/ 98350 h 172875"/>
                <a:gd name="connsiteX15" fmla="*/ 28726 w 158948"/>
                <a:gd name="connsiteY15" fmla="*/ 100182 h 172875"/>
                <a:gd name="connsiteX16" fmla="*/ 28726 w 158948"/>
                <a:gd name="connsiteY16" fmla="*/ 100182 h 172875"/>
                <a:gd name="connsiteX17" fmla="*/ 23225 w 158948"/>
                <a:gd name="connsiteY17" fmla="*/ 102626 h 172875"/>
                <a:gd name="connsiteX18" fmla="*/ 23225 w 158948"/>
                <a:gd name="connsiteY18" fmla="*/ 102626 h 172875"/>
                <a:gd name="connsiteX19" fmla="*/ 15891 w 158948"/>
                <a:gd name="connsiteY19" fmla="*/ 106291 h 172875"/>
                <a:gd name="connsiteX20" fmla="*/ 0 w 158948"/>
                <a:gd name="connsiteY20" fmla="*/ 132558 h 172875"/>
                <a:gd name="connsiteX21" fmla="*/ 0 w 158948"/>
                <a:gd name="connsiteY21" fmla="*/ 140499 h 172875"/>
                <a:gd name="connsiteX22" fmla="*/ 10390 w 158948"/>
                <a:gd name="connsiteY22" fmla="*/ 158215 h 172875"/>
                <a:gd name="connsiteX23" fmla="*/ 79453 w 158948"/>
                <a:gd name="connsiteY23" fmla="*/ 172875 h 172875"/>
                <a:gd name="connsiteX24" fmla="*/ 148517 w 158948"/>
                <a:gd name="connsiteY24" fmla="*/ 158215 h 172875"/>
                <a:gd name="connsiteX25" fmla="*/ 158907 w 158948"/>
                <a:gd name="connsiteY25" fmla="*/ 140499 h 172875"/>
                <a:gd name="connsiteX26" fmla="*/ 158907 w 158948"/>
                <a:gd name="connsiteY26" fmla="*/ 132558 h 172875"/>
                <a:gd name="connsiteX27" fmla="*/ 143627 w 158948"/>
                <a:gd name="connsiteY27" fmla="*/ 106291 h 172875"/>
                <a:gd name="connsiteX28" fmla="*/ 40338 w 158948"/>
                <a:gd name="connsiteY28" fmla="*/ 45204 h 172875"/>
                <a:gd name="connsiteX29" fmla="*/ 80064 w 158948"/>
                <a:gd name="connsiteY29" fmla="*/ 5498 h 172875"/>
                <a:gd name="connsiteX30" fmla="*/ 119791 w 158948"/>
                <a:gd name="connsiteY30" fmla="*/ 45204 h 172875"/>
                <a:gd name="connsiteX31" fmla="*/ 80064 w 158948"/>
                <a:gd name="connsiteY31" fmla="*/ 84911 h 172875"/>
                <a:gd name="connsiteX32" fmla="*/ 40338 w 158948"/>
                <a:gd name="connsiteY32" fmla="*/ 45204 h 172875"/>
                <a:gd name="connsiteX33" fmla="*/ 54395 w 158948"/>
                <a:gd name="connsiteY33" fmla="*/ 100182 h 172875"/>
                <a:gd name="connsiteX34" fmla="*/ 54395 w 158948"/>
                <a:gd name="connsiteY34" fmla="*/ 100182 h 172875"/>
                <a:gd name="connsiteX35" fmla="*/ 54395 w 158948"/>
                <a:gd name="connsiteY35" fmla="*/ 100182 h 172875"/>
                <a:gd name="connsiteX36" fmla="*/ 55006 w 158948"/>
                <a:gd name="connsiteY36" fmla="*/ 100182 h 172875"/>
                <a:gd name="connsiteX37" fmla="*/ 55617 w 158948"/>
                <a:gd name="connsiteY37" fmla="*/ 99571 h 172875"/>
                <a:gd name="connsiteX38" fmla="*/ 55617 w 158948"/>
                <a:gd name="connsiteY38" fmla="*/ 99571 h 172875"/>
                <a:gd name="connsiteX39" fmla="*/ 62951 w 158948"/>
                <a:gd name="connsiteY39" fmla="*/ 87354 h 172875"/>
                <a:gd name="connsiteX40" fmla="*/ 79453 w 158948"/>
                <a:gd name="connsiteY40" fmla="*/ 90408 h 172875"/>
                <a:gd name="connsiteX41" fmla="*/ 95955 w 158948"/>
                <a:gd name="connsiteY41" fmla="*/ 87354 h 172875"/>
                <a:gd name="connsiteX42" fmla="*/ 103289 w 158948"/>
                <a:gd name="connsiteY42" fmla="*/ 99571 h 172875"/>
                <a:gd name="connsiteX43" fmla="*/ 103289 w 158948"/>
                <a:gd name="connsiteY43" fmla="*/ 99571 h 172875"/>
                <a:gd name="connsiteX44" fmla="*/ 103901 w 158948"/>
                <a:gd name="connsiteY44" fmla="*/ 100182 h 172875"/>
                <a:gd name="connsiteX45" fmla="*/ 104512 w 158948"/>
                <a:gd name="connsiteY45" fmla="*/ 100182 h 172875"/>
                <a:gd name="connsiteX46" fmla="*/ 104512 w 158948"/>
                <a:gd name="connsiteY46" fmla="*/ 100182 h 172875"/>
                <a:gd name="connsiteX47" fmla="*/ 108179 w 158948"/>
                <a:gd name="connsiteY47" fmla="*/ 100793 h 172875"/>
                <a:gd name="connsiteX48" fmla="*/ 79453 w 158948"/>
                <a:gd name="connsiteY48" fmla="*/ 119730 h 172875"/>
                <a:gd name="connsiteX49" fmla="*/ 50728 w 158948"/>
                <a:gd name="connsiteY49" fmla="*/ 101404 h 172875"/>
                <a:gd name="connsiteX50" fmla="*/ 54395 w 158948"/>
                <a:gd name="connsiteY50" fmla="*/ 100182 h 172875"/>
                <a:gd name="connsiteX51" fmla="*/ 146072 w 158948"/>
                <a:gd name="connsiteY51" fmla="*/ 153939 h 172875"/>
                <a:gd name="connsiteX52" fmla="*/ 79453 w 158948"/>
                <a:gd name="connsiteY52" fmla="*/ 167988 h 172875"/>
                <a:gd name="connsiteX53" fmla="*/ 12835 w 158948"/>
                <a:gd name="connsiteY53" fmla="*/ 153939 h 172875"/>
                <a:gd name="connsiteX54" fmla="*/ 5500 w 158948"/>
                <a:gd name="connsiteY54" fmla="*/ 141110 h 172875"/>
                <a:gd name="connsiteX55" fmla="*/ 5500 w 158948"/>
                <a:gd name="connsiteY55" fmla="*/ 133169 h 172875"/>
                <a:gd name="connsiteX56" fmla="*/ 18335 w 158948"/>
                <a:gd name="connsiteY56" fmla="*/ 111789 h 172875"/>
                <a:gd name="connsiteX57" fmla="*/ 35448 w 158948"/>
                <a:gd name="connsiteY57" fmla="*/ 104458 h 172875"/>
                <a:gd name="connsiteX58" fmla="*/ 43394 w 158948"/>
                <a:gd name="connsiteY58" fmla="*/ 102015 h 172875"/>
                <a:gd name="connsiteX59" fmla="*/ 44616 w 158948"/>
                <a:gd name="connsiteY59" fmla="*/ 102015 h 172875"/>
                <a:gd name="connsiteX60" fmla="*/ 78842 w 158948"/>
                <a:gd name="connsiteY60" fmla="*/ 125228 h 172875"/>
                <a:gd name="connsiteX61" fmla="*/ 113068 w 158948"/>
                <a:gd name="connsiteY61" fmla="*/ 102015 h 172875"/>
                <a:gd name="connsiteX62" fmla="*/ 114291 w 158948"/>
                <a:gd name="connsiteY62" fmla="*/ 102626 h 172875"/>
                <a:gd name="connsiteX63" fmla="*/ 122236 w 158948"/>
                <a:gd name="connsiteY63" fmla="*/ 105069 h 172875"/>
                <a:gd name="connsiteX64" fmla="*/ 139349 w 158948"/>
                <a:gd name="connsiteY64" fmla="*/ 112400 h 172875"/>
                <a:gd name="connsiteX65" fmla="*/ 152184 w 158948"/>
                <a:gd name="connsiteY65" fmla="*/ 133780 h 172875"/>
                <a:gd name="connsiteX66" fmla="*/ 152184 w 158948"/>
                <a:gd name="connsiteY66" fmla="*/ 141721 h 172875"/>
                <a:gd name="connsiteX67" fmla="*/ 146072 w 158948"/>
                <a:gd name="connsiteY67" fmla="*/ 153939 h 172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158948" h="172875">
                  <a:moveTo>
                    <a:pt x="143627" y="106291"/>
                  </a:moveTo>
                  <a:cubicBezTo>
                    <a:pt x="142405" y="105680"/>
                    <a:pt x="141182" y="105069"/>
                    <a:pt x="139960" y="104458"/>
                  </a:cubicBezTo>
                  <a:cubicBezTo>
                    <a:pt x="136904" y="102626"/>
                    <a:pt x="127736" y="99571"/>
                    <a:pt x="127736" y="99571"/>
                  </a:cubicBezTo>
                  <a:lnTo>
                    <a:pt x="127736" y="99571"/>
                  </a:lnTo>
                  <a:cubicBezTo>
                    <a:pt x="126514" y="98961"/>
                    <a:pt x="125903" y="98961"/>
                    <a:pt x="124680" y="98350"/>
                  </a:cubicBezTo>
                  <a:cubicBezTo>
                    <a:pt x="121625" y="97128"/>
                    <a:pt x="119180" y="96517"/>
                    <a:pt x="116735" y="95906"/>
                  </a:cubicBezTo>
                  <a:cubicBezTo>
                    <a:pt x="113679" y="94684"/>
                    <a:pt x="110012" y="94074"/>
                    <a:pt x="106956" y="93463"/>
                  </a:cubicBezTo>
                  <a:cubicBezTo>
                    <a:pt x="104512" y="91019"/>
                    <a:pt x="102678" y="87354"/>
                    <a:pt x="101456" y="83689"/>
                  </a:cubicBezTo>
                  <a:cubicBezTo>
                    <a:pt x="114902" y="75748"/>
                    <a:pt x="124069" y="61698"/>
                    <a:pt x="124069" y="44593"/>
                  </a:cubicBezTo>
                  <a:cubicBezTo>
                    <a:pt x="124069" y="20159"/>
                    <a:pt x="103901" y="0"/>
                    <a:pt x="79453" y="0"/>
                  </a:cubicBezTo>
                  <a:cubicBezTo>
                    <a:pt x="55006" y="0"/>
                    <a:pt x="34837" y="20159"/>
                    <a:pt x="34837" y="44593"/>
                  </a:cubicBezTo>
                  <a:cubicBezTo>
                    <a:pt x="34837" y="61087"/>
                    <a:pt x="44005" y="75748"/>
                    <a:pt x="57451" y="83689"/>
                  </a:cubicBezTo>
                  <a:cubicBezTo>
                    <a:pt x="56229" y="87354"/>
                    <a:pt x="54395" y="91019"/>
                    <a:pt x="51950" y="94074"/>
                  </a:cubicBezTo>
                  <a:cubicBezTo>
                    <a:pt x="45838" y="95295"/>
                    <a:pt x="42171" y="95906"/>
                    <a:pt x="42171" y="95906"/>
                  </a:cubicBezTo>
                  <a:cubicBezTo>
                    <a:pt x="39727" y="96517"/>
                    <a:pt x="37282" y="97128"/>
                    <a:pt x="34226" y="98350"/>
                  </a:cubicBezTo>
                  <a:cubicBezTo>
                    <a:pt x="32392" y="98961"/>
                    <a:pt x="30559" y="99571"/>
                    <a:pt x="28726" y="100182"/>
                  </a:cubicBezTo>
                  <a:cubicBezTo>
                    <a:pt x="28726" y="100182"/>
                    <a:pt x="28726" y="100182"/>
                    <a:pt x="28726" y="100182"/>
                  </a:cubicBezTo>
                  <a:cubicBezTo>
                    <a:pt x="26892" y="100793"/>
                    <a:pt x="25058" y="102015"/>
                    <a:pt x="23225" y="102626"/>
                  </a:cubicBezTo>
                  <a:cubicBezTo>
                    <a:pt x="23225" y="102626"/>
                    <a:pt x="23225" y="102626"/>
                    <a:pt x="23225" y="102626"/>
                  </a:cubicBezTo>
                  <a:cubicBezTo>
                    <a:pt x="20780" y="103847"/>
                    <a:pt x="18335" y="105069"/>
                    <a:pt x="15891" y="106291"/>
                  </a:cubicBezTo>
                  <a:cubicBezTo>
                    <a:pt x="6112" y="111178"/>
                    <a:pt x="0" y="121563"/>
                    <a:pt x="0" y="132558"/>
                  </a:cubicBezTo>
                  <a:lnTo>
                    <a:pt x="0" y="140499"/>
                  </a:lnTo>
                  <a:cubicBezTo>
                    <a:pt x="0" y="147830"/>
                    <a:pt x="4278" y="154549"/>
                    <a:pt x="10390" y="158215"/>
                  </a:cubicBezTo>
                  <a:cubicBezTo>
                    <a:pt x="22614" y="164934"/>
                    <a:pt x="45227" y="172875"/>
                    <a:pt x="79453" y="172875"/>
                  </a:cubicBezTo>
                  <a:cubicBezTo>
                    <a:pt x="113679" y="172875"/>
                    <a:pt x="136293" y="164934"/>
                    <a:pt x="148517" y="158215"/>
                  </a:cubicBezTo>
                  <a:cubicBezTo>
                    <a:pt x="155239" y="154549"/>
                    <a:pt x="158907" y="147830"/>
                    <a:pt x="158907" y="140499"/>
                  </a:cubicBezTo>
                  <a:lnTo>
                    <a:pt x="158907" y="132558"/>
                  </a:lnTo>
                  <a:cubicBezTo>
                    <a:pt x="159518" y="121563"/>
                    <a:pt x="153406" y="111789"/>
                    <a:pt x="143627" y="106291"/>
                  </a:cubicBezTo>
                  <a:close/>
                  <a:moveTo>
                    <a:pt x="40338" y="45204"/>
                  </a:moveTo>
                  <a:cubicBezTo>
                    <a:pt x="40338" y="23213"/>
                    <a:pt x="58062" y="5498"/>
                    <a:pt x="80064" y="5498"/>
                  </a:cubicBezTo>
                  <a:cubicBezTo>
                    <a:pt x="102067" y="5498"/>
                    <a:pt x="119791" y="23213"/>
                    <a:pt x="119791" y="45204"/>
                  </a:cubicBezTo>
                  <a:cubicBezTo>
                    <a:pt x="119791" y="67195"/>
                    <a:pt x="102067" y="84911"/>
                    <a:pt x="80064" y="84911"/>
                  </a:cubicBezTo>
                  <a:cubicBezTo>
                    <a:pt x="58062" y="84911"/>
                    <a:pt x="40338" y="67195"/>
                    <a:pt x="40338" y="45204"/>
                  </a:cubicBezTo>
                  <a:close/>
                  <a:moveTo>
                    <a:pt x="54395" y="100182"/>
                  </a:moveTo>
                  <a:lnTo>
                    <a:pt x="54395" y="100182"/>
                  </a:lnTo>
                  <a:cubicBezTo>
                    <a:pt x="55006" y="100182"/>
                    <a:pt x="55006" y="100182"/>
                    <a:pt x="54395" y="100182"/>
                  </a:cubicBezTo>
                  <a:cubicBezTo>
                    <a:pt x="55006" y="100182"/>
                    <a:pt x="55006" y="100182"/>
                    <a:pt x="55006" y="100182"/>
                  </a:cubicBezTo>
                  <a:lnTo>
                    <a:pt x="55617" y="99571"/>
                  </a:lnTo>
                  <a:cubicBezTo>
                    <a:pt x="55617" y="99571"/>
                    <a:pt x="55617" y="99571"/>
                    <a:pt x="55617" y="99571"/>
                  </a:cubicBezTo>
                  <a:cubicBezTo>
                    <a:pt x="59285" y="95906"/>
                    <a:pt x="61729" y="91630"/>
                    <a:pt x="62951" y="87354"/>
                  </a:cubicBezTo>
                  <a:cubicBezTo>
                    <a:pt x="67841" y="89187"/>
                    <a:pt x="73342" y="90408"/>
                    <a:pt x="79453" y="90408"/>
                  </a:cubicBezTo>
                  <a:cubicBezTo>
                    <a:pt x="85565" y="90408"/>
                    <a:pt x="91066" y="89187"/>
                    <a:pt x="95955" y="87354"/>
                  </a:cubicBezTo>
                  <a:cubicBezTo>
                    <a:pt x="97177" y="91630"/>
                    <a:pt x="99622" y="95906"/>
                    <a:pt x="103289" y="99571"/>
                  </a:cubicBezTo>
                  <a:cubicBezTo>
                    <a:pt x="103289" y="99571"/>
                    <a:pt x="103289" y="99571"/>
                    <a:pt x="103289" y="99571"/>
                  </a:cubicBezTo>
                  <a:cubicBezTo>
                    <a:pt x="103289" y="99571"/>
                    <a:pt x="103901" y="99571"/>
                    <a:pt x="103901" y="100182"/>
                  </a:cubicBezTo>
                  <a:cubicBezTo>
                    <a:pt x="103901" y="100182"/>
                    <a:pt x="104512" y="100182"/>
                    <a:pt x="104512" y="100182"/>
                  </a:cubicBezTo>
                  <a:cubicBezTo>
                    <a:pt x="104512" y="100182"/>
                    <a:pt x="104512" y="100182"/>
                    <a:pt x="104512" y="100182"/>
                  </a:cubicBezTo>
                  <a:cubicBezTo>
                    <a:pt x="105734" y="100182"/>
                    <a:pt x="106956" y="100793"/>
                    <a:pt x="108179" y="100793"/>
                  </a:cubicBezTo>
                  <a:cubicBezTo>
                    <a:pt x="106956" y="111178"/>
                    <a:pt x="94733" y="119730"/>
                    <a:pt x="79453" y="119730"/>
                  </a:cubicBezTo>
                  <a:cubicBezTo>
                    <a:pt x="64174" y="119730"/>
                    <a:pt x="52561" y="111789"/>
                    <a:pt x="50728" y="101404"/>
                  </a:cubicBezTo>
                  <a:cubicBezTo>
                    <a:pt x="51950" y="100182"/>
                    <a:pt x="53173" y="100182"/>
                    <a:pt x="54395" y="100182"/>
                  </a:cubicBezTo>
                  <a:close/>
                  <a:moveTo>
                    <a:pt x="146072" y="153939"/>
                  </a:moveTo>
                  <a:cubicBezTo>
                    <a:pt x="136293" y="159436"/>
                    <a:pt x="114902" y="167988"/>
                    <a:pt x="79453" y="167988"/>
                  </a:cubicBezTo>
                  <a:cubicBezTo>
                    <a:pt x="44616" y="167988"/>
                    <a:pt x="22614" y="159436"/>
                    <a:pt x="12835" y="153939"/>
                  </a:cubicBezTo>
                  <a:cubicBezTo>
                    <a:pt x="8556" y="151495"/>
                    <a:pt x="5500" y="146608"/>
                    <a:pt x="5500" y="141110"/>
                  </a:cubicBezTo>
                  <a:lnTo>
                    <a:pt x="5500" y="133169"/>
                  </a:lnTo>
                  <a:cubicBezTo>
                    <a:pt x="5500" y="124006"/>
                    <a:pt x="10390" y="116065"/>
                    <a:pt x="18335" y="111789"/>
                  </a:cubicBezTo>
                  <a:cubicBezTo>
                    <a:pt x="23836" y="108734"/>
                    <a:pt x="29948" y="106291"/>
                    <a:pt x="35448" y="104458"/>
                  </a:cubicBezTo>
                  <a:cubicBezTo>
                    <a:pt x="38504" y="103237"/>
                    <a:pt x="40949" y="102626"/>
                    <a:pt x="43394" y="102015"/>
                  </a:cubicBezTo>
                  <a:lnTo>
                    <a:pt x="44616" y="102015"/>
                  </a:lnTo>
                  <a:cubicBezTo>
                    <a:pt x="47061" y="114843"/>
                    <a:pt x="61729" y="125228"/>
                    <a:pt x="78842" y="125228"/>
                  </a:cubicBezTo>
                  <a:cubicBezTo>
                    <a:pt x="95955" y="125228"/>
                    <a:pt x="110623" y="114843"/>
                    <a:pt x="113068" y="102015"/>
                  </a:cubicBezTo>
                  <a:cubicBezTo>
                    <a:pt x="113679" y="102015"/>
                    <a:pt x="113679" y="102015"/>
                    <a:pt x="114291" y="102626"/>
                  </a:cubicBezTo>
                  <a:cubicBezTo>
                    <a:pt x="116735" y="103237"/>
                    <a:pt x="119180" y="103847"/>
                    <a:pt x="122236" y="105069"/>
                  </a:cubicBezTo>
                  <a:cubicBezTo>
                    <a:pt x="128348" y="106902"/>
                    <a:pt x="133848" y="109345"/>
                    <a:pt x="139349" y="112400"/>
                  </a:cubicBezTo>
                  <a:cubicBezTo>
                    <a:pt x="147294" y="116676"/>
                    <a:pt x="152184" y="124617"/>
                    <a:pt x="152184" y="133780"/>
                  </a:cubicBezTo>
                  <a:lnTo>
                    <a:pt x="152184" y="141721"/>
                  </a:lnTo>
                  <a:cubicBezTo>
                    <a:pt x="153406" y="146608"/>
                    <a:pt x="150962" y="150884"/>
                    <a:pt x="146072" y="153939"/>
                  </a:cubicBezTo>
                  <a:close/>
                </a:path>
              </a:pathLst>
            </a:custGeom>
            <a:solidFill>
              <a:srgbClr val="2473B9"/>
            </a:solidFill>
            <a:ln w="61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</p:grpSp>
      <p:sp>
        <p:nvSpPr>
          <p:cNvPr id="67" name="Picture Placeholder 67">
            <a:extLst>
              <a:ext uri="{FF2B5EF4-FFF2-40B4-BE49-F238E27FC236}">
                <a16:creationId xmlns:a16="http://schemas.microsoft.com/office/drawing/2014/main" id="{909F285E-FDD5-2B43-8228-77AAD2193307}"/>
              </a:ext>
            </a:extLst>
          </p:cNvPr>
          <p:cNvSpPr>
            <a:spLocks noGrp="1" noChangeAspect="1"/>
          </p:cNvSpPr>
          <p:nvPr>
            <p:ph type="pic" sz="quarter" idx="11" hasCustomPrompt="1"/>
          </p:nvPr>
        </p:nvSpPr>
        <p:spPr>
          <a:xfrm>
            <a:off x="5656580" y="964037"/>
            <a:ext cx="853440" cy="853440"/>
          </a:xfrm>
          <a:prstGeom prst="ellipse">
            <a:avLst/>
          </a:prstGeom>
        </p:spPr>
        <p:txBody>
          <a:bodyPr wrap="none" anchor="ctr" anchorCtr="0"/>
          <a:lstStyle>
            <a:lvl1pPr algn="ctr">
              <a:defRPr sz="1200"/>
            </a:lvl1pPr>
          </a:lstStyle>
          <a:p>
            <a:r>
              <a:rPr lang="en-US"/>
              <a:t>Photo</a:t>
            </a:r>
          </a:p>
        </p:txBody>
      </p:sp>
      <p:sp>
        <p:nvSpPr>
          <p:cNvPr id="68" name="Picture Placeholder 67">
            <a:extLst>
              <a:ext uri="{FF2B5EF4-FFF2-40B4-BE49-F238E27FC236}">
                <a16:creationId xmlns:a16="http://schemas.microsoft.com/office/drawing/2014/main" id="{AFD55085-CC49-8A44-9633-C3E117E10361}"/>
              </a:ext>
            </a:extLst>
          </p:cNvPr>
          <p:cNvSpPr>
            <a:spLocks noGrp="1" noChangeAspect="1"/>
          </p:cNvSpPr>
          <p:nvPr>
            <p:ph type="pic" sz="quarter" idx="12" hasCustomPrompt="1"/>
          </p:nvPr>
        </p:nvSpPr>
        <p:spPr>
          <a:xfrm>
            <a:off x="846452" y="2767437"/>
            <a:ext cx="853440" cy="853440"/>
          </a:xfrm>
          <a:prstGeom prst="ellipse">
            <a:avLst/>
          </a:prstGeom>
        </p:spPr>
        <p:txBody>
          <a:bodyPr wrap="none" anchor="ctr" anchorCtr="0"/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Photo</a:t>
            </a:r>
          </a:p>
        </p:txBody>
      </p:sp>
      <p:sp>
        <p:nvSpPr>
          <p:cNvPr id="69" name="Picture Placeholder 67">
            <a:extLst>
              <a:ext uri="{FF2B5EF4-FFF2-40B4-BE49-F238E27FC236}">
                <a16:creationId xmlns:a16="http://schemas.microsoft.com/office/drawing/2014/main" id="{8043F029-F42C-DF40-88F2-92499515E564}"/>
              </a:ext>
            </a:extLst>
          </p:cNvPr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2770503" y="2767437"/>
            <a:ext cx="853440" cy="853440"/>
          </a:xfrm>
          <a:prstGeom prst="ellipse">
            <a:avLst/>
          </a:prstGeom>
        </p:spPr>
        <p:txBody>
          <a:bodyPr wrap="none" anchor="ctr" anchorCtr="0"/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Photo</a:t>
            </a:r>
          </a:p>
        </p:txBody>
      </p:sp>
      <p:sp>
        <p:nvSpPr>
          <p:cNvPr id="70" name="Picture Placeholder 67">
            <a:extLst>
              <a:ext uri="{FF2B5EF4-FFF2-40B4-BE49-F238E27FC236}">
                <a16:creationId xmlns:a16="http://schemas.microsoft.com/office/drawing/2014/main" id="{579C37A9-C307-6A4D-90A8-4C9425291B5D}"/>
              </a:ext>
            </a:extLst>
          </p:cNvPr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4719159" y="2767437"/>
            <a:ext cx="853440" cy="853440"/>
          </a:xfrm>
          <a:prstGeom prst="ellipse">
            <a:avLst/>
          </a:prstGeom>
        </p:spPr>
        <p:txBody>
          <a:bodyPr wrap="none" anchor="ctr" anchorCtr="0"/>
          <a:lstStyle>
            <a:lvl1pPr algn="ctr">
              <a:defRPr sz="1200"/>
            </a:lvl1pPr>
          </a:lstStyle>
          <a:p>
            <a:r>
              <a:rPr lang="en-US"/>
              <a:t>Photo</a:t>
            </a:r>
          </a:p>
        </p:txBody>
      </p:sp>
      <p:sp>
        <p:nvSpPr>
          <p:cNvPr id="71" name="Picture Placeholder 67">
            <a:extLst>
              <a:ext uri="{FF2B5EF4-FFF2-40B4-BE49-F238E27FC236}">
                <a16:creationId xmlns:a16="http://schemas.microsoft.com/office/drawing/2014/main" id="{C3B6336A-E04E-1D4B-A45E-11F9D2BECD08}"/>
              </a:ext>
            </a:extLst>
          </p:cNvPr>
          <p:cNvSpPr>
            <a:spLocks noGrp="1" noChangeAspect="1"/>
          </p:cNvSpPr>
          <p:nvPr>
            <p:ph type="pic" sz="quarter" idx="15" hasCustomPrompt="1"/>
          </p:nvPr>
        </p:nvSpPr>
        <p:spPr>
          <a:xfrm>
            <a:off x="6618604" y="2767437"/>
            <a:ext cx="853440" cy="853440"/>
          </a:xfrm>
          <a:prstGeom prst="ellipse">
            <a:avLst/>
          </a:prstGeom>
        </p:spPr>
        <p:txBody>
          <a:bodyPr wrap="none" anchor="ctr" anchorCtr="0"/>
          <a:lstStyle>
            <a:lvl1pPr algn="ctr">
              <a:defRPr sz="1200"/>
            </a:lvl1pPr>
          </a:lstStyle>
          <a:p>
            <a:r>
              <a:rPr lang="en-US"/>
              <a:t>Photo</a:t>
            </a:r>
          </a:p>
        </p:txBody>
      </p:sp>
      <p:sp>
        <p:nvSpPr>
          <p:cNvPr id="72" name="Picture Placeholder 67">
            <a:extLst>
              <a:ext uri="{FF2B5EF4-FFF2-40B4-BE49-F238E27FC236}">
                <a16:creationId xmlns:a16="http://schemas.microsoft.com/office/drawing/2014/main" id="{AE42635E-E289-3045-93CA-F3DD9DF5BE90}"/>
              </a:ext>
            </a:extLst>
          </p:cNvPr>
          <p:cNvSpPr>
            <a:spLocks noGrp="1" noChangeAspect="1"/>
          </p:cNvSpPr>
          <p:nvPr>
            <p:ph type="pic" sz="quarter" idx="16" hasCustomPrompt="1"/>
          </p:nvPr>
        </p:nvSpPr>
        <p:spPr>
          <a:xfrm>
            <a:off x="8542655" y="2767437"/>
            <a:ext cx="853440" cy="853440"/>
          </a:xfrm>
          <a:prstGeom prst="ellipse">
            <a:avLst/>
          </a:prstGeom>
        </p:spPr>
        <p:txBody>
          <a:bodyPr wrap="none" anchor="ctr" anchorCtr="0"/>
          <a:lstStyle>
            <a:lvl1pPr algn="ctr">
              <a:defRPr sz="1200"/>
            </a:lvl1pPr>
          </a:lstStyle>
          <a:p>
            <a:r>
              <a:rPr lang="en-US"/>
              <a:t>Photo</a:t>
            </a:r>
          </a:p>
        </p:txBody>
      </p:sp>
      <p:sp>
        <p:nvSpPr>
          <p:cNvPr id="73" name="Picture Placeholder 67">
            <a:extLst>
              <a:ext uri="{FF2B5EF4-FFF2-40B4-BE49-F238E27FC236}">
                <a16:creationId xmlns:a16="http://schemas.microsoft.com/office/drawing/2014/main" id="{C6A3ED26-B45D-F649-B87B-EC8D065F3B18}"/>
              </a:ext>
            </a:extLst>
          </p:cNvPr>
          <p:cNvSpPr>
            <a:spLocks noGrp="1" noChangeAspect="1"/>
          </p:cNvSpPr>
          <p:nvPr>
            <p:ph type="pic" sz="quarter" idx="17" hasCustomPrompt="1"/>
          </p:nvPr>
        </p:nvSpPr>
        <p:spPr>
          <a:xfrm>
            <a:off x="10466708" y="2767437"/>
            <a:ext cx="853440" cy="853440"/>
          </a:xfrm>
          <a:prstGeom prst="ellipse">
            <a:avLst/>
          </a:prstGeom>
        </p:spPr>
        <p:txBody>
          <a:bodyPr wrap="none" anchor="ctr" anchorCtr="0"/>
          <a:lstStyle>
            <a:lvl1pPr algn="ctr">
              <a:defRPr sz="1200"/>
            </a:lvl1pPr>
          </a:lstStyle>
          <a:p>
            <a:r>
              <a:rPr lang="en-US"/>
              <a:t>Photo</a:t>
            </a:r>
          </a:p>
        </p:txBody>
      </p:sp>
      <p:sp>
        <p:nvSpPr>
          <p:cNvPr id="74" name="Picture Placeholder 67">
            <a:extLst>
              <a:ext uri="{FF2B5EF4-FFF2-40B4-BE49-F238E27FC236}">
                <a16:creationId xmlns:a16="http://schemas.microsoft.com/office/drawing/2014/main" id="{82D71B31-B689-8943-9214-1D0E8D3037A5}"/>
              </a:ext>
            </a:extLst>
          </p:cNvPr>
          <p:cNvSpPr>
            <a:spLocks noGrp="1" noChangeAspect="1"/>
          </p:cNvSpPr>
          <p:nvPr>
            <p:ph type="pic" sz="quarter" idx="18" hasCustomPrompt="1"/>
          </p:nvPr>
        </p:nvSpPr>
        <p:spPr>
          <a:xfrm>
            <a:off x="846452" y="4596237"/>
            <a:ext cx="853440" cy="853440"/>
          </a:xfrm>
          <a:prstGeom prst="ellipse">
            <a:avLst/>
          </a:prstGeom>
        </p:spPr>
        <p:txBody>
          <a:bodyPr wrap="none" anchor="ctr" anchorCtr="0"/>
          <a:lstStyle>
            <a:lvl1pPr algn="ctr">
              <a:defRPr sz="1200"/>
            </a:lvl1pPr>
          </a:lstStyle>
          <a:p>
            <a:r>
              <a:rPr lang="en-US"/>
              <a:t>Photo</a:t>
            </a:r>
          </a:p>
        </p:txBody>
      </p:sp>
      <p:sp>
        <p:nvSpPr>
          <p:cNvPr id="75" name="Picture Placeholder 67">
            <a:extLst>
              <a:ext uri="{FF2B5EF4-FFF2-40B4-BE49-F238E27FC236}">
                <a16:creationId xmlns:a16="http://schemas.microsoft.com/office/drawing/2014/main" id="{E6E09087-AE4A-5241-97F4-BDBA3AC19693}"/>
              </a:ext>
            </a:extLst>
          </p:cNvPr>
          <p:cNvSpPr>
            <a:spLocks noGrp="1" noChangeAspect="1"/>
          </p:cNvSpPr>
          <p:nvPr>
            <p:ph type="pic" sz="quarter" idx="19" hasCustomPrompt="1"/>
          </p:nvPr>
        </p:nvSpPr>
        <p:spPr>
          <a:xfrm>
            <a:off x="2770503" y="4596237"/>
            <a:ext cx="853440" cy="853440"/>
          </a:xfrm>
          <a:prstGeom prst="ellipse">
            <a:avLst/>
          </a:prstGeom>
        </p:spPr>
        <p:txBody>
          <a:bodyPr wrap="none" anchor="ctr" anchorCtr="0"/>
          <a:lstStyle>
            <a:lvl1pPr algn="ctr">
              <a:defRPr sz="1200"/>
            </a:lvl1pPr>
          </a:lstStyle>
          <a:p>
            <a:r>
              <a:rPr lang="en-US"/>
              <a:t>Photo</a:t>
            </a:r>
          </a:p>
        </p:txBody>
      </p:sp>
      <p:sp>
        <p:nvSpPr>
          <p:cNvPr id="76" name="Picture Placeholder 67">
            <a:extLst>
              <a:ext uri="{FF2B5EF4-FFF2-40B4-BE49-F238E27FC236}">
                <a16:creationId xmlns:a16="http://schemas.microsoft.com/office/drawing/2014/main" id="{20E234C9-66E0-0146-8B78-14D842DA9165}"/>
              </a:ext>
            </a:extLst>
          </p:cNvPr>
          <p:cNvSpPr>
            <a:spLocks noGrp="1" noChangeAspect="1"/>
          </p:cNvSpPr>
          <p:nvPr>
            <p:ph type="pic" sz="quarter" idx="20" hasCustomPrompt="1"/>
          </p:nvPr>
        </p:nvSpPr>
        <p:spPr>
          <a:xfrm>
            <a:off x="4719159" y="4596237"/>
            <a:ext cx="853440" cy="853440"/>
          </a:xfrm>
          <a:prstGeom prst="ellipse">
            <a:avLst/>
          </a:prstGeom>
        </p:spPr>
        <p:txBody>
          <a:bodyPr wrap="none" anchor="ctr" anchorCtr="0"/>
          <a:lstStyle>
            <a:lvl1pPr algn="ctr">
              <a:defRPr sz="1200"/>
            </a:lvl1pPr>
          </a:lstStyle>
          <a:p>
            <a:r>
              <a:rPr lang="en-US"/>
              <a:t>Photo</a:t>
            </a:r>
          </a:p>
        </p:txBody>
      </p:sp>
      <p:sp>
        <p:nvSpPr>
          <p:cNvPr id="77" name="Picture Placeholder 67">
            <a:extLst>
              <a:ext uri="{FF2B5EF4-FFF2-40B4-BE49-F238E27FC236}">
                <a16:creationId xmlns:a16="http://schemas.microsoft.com/office/drawing/2014/main" id="{17F07D72-35EC-D044-AAED-A8319C4F8E09}"/>
              </a:ext>
            </a:extLst>
          </p:cNvPr>
          <p:cNvSpPr>
            <a:spLocks noGrp="1" noChangeAspect="1"/>
          </p:cNvSpPr>
          <p:nvPr>
            <p:ph type="pic" sz="quarter" idx="21" hasCustomPrompt="1"/>
          </p:nvPr>
        </p:nvSpPr>
        <p:spPr>
          <a:xfrm>
            <a:off x="6618604" y="4596237"/>
            <a:ext cx="853440" cy="853440"/>
          </a:xfrm>
          <a:prstGeom prst="ellipse">
            <a:avLst/>
          </a:prstGeom>
        </p:spPr>
        <p:txBody>
          <a:bodyPr wrap="none" anchor="ctr" anchorCtr="0"/>
          <a:lstStyle>
            <a:lvl1pPr algn="ctr">
              <a:defRPr sz="1200"/>
            </a:lvl1pPr>
          </a:lstStyle>
          <a:p>
            <a:r>
              <a:rPr lang="en-US"/>
              <a:t>Photo</a:t>
            </a:r>
          </a:p>
        </p:txBody>
      </p:sp>
      <p:sp>
        <p:nvSpPr>
          <p:cNvPr id="78" name="Picture Placeholder 67">
            <a:extLst>
              <a:ext uri="{FF2B5EF4-FFF2-40B4-BE49-F238E27FC236}">
                <a16:creationId xmlns:a16="http://schemas.microsoft.com/office/drawing/2014/main" id="{74654839-30C4-7541-98EF-51B7CD796109}"/>
              </a:ext>
            </a:extLst>
          </p:cNvPr>
          <p:cNvSpPr>
            <a:spLocks noGrp="1" noChangeAspect="1"/>
          </p:cNvSpPr>
          <p:nvPr>
            <p:ph type="pic" sz="quarter" idx="22" hasCustomPrompt="1"/>
          </p:nvPr>
        </p:nvSpPr>
        <p:spPr>
          <a:xfrm>
            <a:off x="8542655" y="4596237"/>
            <a:ext cx="853440" cy="853440"/>
          </a:xfrm>
          <a:prstGeom prst="ellipse">
            <a:avLst/>
          </a:prstGeom>
        </p:spPr>
        <p:txBody>
          <a:bodyPr wrap="none" anchor="ctr" anchorCtr="0"/>
          <a:lstStyle>
            <a:lvl1pPr algn="ctr">
              <a:defRPr sz="1200"/>
            </a:lvl1pPr>
          </a:lstStyle>
          <a:p>
            <a:r>
              <a:rPr lang="en-US"/>
              <a:t>Photo</a:t>
            </a:r>
          </a:p>
        </p:txBody>
      </p:sp>
      <p:sp>
        <p:nvSpPr>
          <p:cNvPr id="79" name="Picture Placeholder 67">
            <a:extLst>
              <a:ext uri="{FF2B5EF4-FFF2-40B4-BE49-F238E27FC236}">
                <a16:creationId xmlns:a16="http://schemas.microsoft.com/office/drawing/2014/main" id="{4BB853D2-D547-5E4D-8E3D-0CE86C35D5FA}"/>
              </a:ext>
            </a:extLst>
          </p:cNvPr>
          <p:cNvSpPr>
            <a:spLocks noGrp="1" noChangeAspect="1"/>
          </p:cNvSpPr>
          <p:nvPr>
            <p:ph type="pic" sz="quarter" idx="23" hasCustomPrompt="1"/>
          </p:nvPr>
        </p:nvSpPr>
        <p:spPr>
          <a:xfrm>
            <a:off x="10466708" y="4596237"/>
            <a:ext cx="853440" cy="853440"/>
          </a:xfrm>
          <a:prstGeom prst="ellipse">
            <a:avLst/>
          </a:prstGeom>
        </p:spPr>
        <p:txBody>
          <a:bodyPr wrap="none" anchor="ctr" anchorCtr="0"/>
          <a:lstStyle>
            <a:lvl1pPr algn="ctr">
              <a:defRPr sz="1200"/>
            </a:lvl1pPr>
          </a:lstStyle>
          <a:p>
            <a:r>
              <a:rPr lang="en-US"/>
              <a:t>Photo</a:t>
            </a:r>
          </a:p>
        </p:txBody>
      </p:sp>
      <p:sp>
        <p:nvSpPr>
          <p:cNvPr id="80" name="Text Placeholder 83">
            <a:extLst>
              <a:ext uri="{FF2B5EF4-FFF2-40B4-BE49-F238E27FC236}">
                <a16:creationId xmlns:a16="http://schemas.microsoft.com/office/drawing/2014/main" id="{88B612F4-F38C-BD4A-87FF-895AA37D6B40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5168899" y="1907479"/>
            <a:ext cx="1828800" cy="609600"/>
          </a:xfrm>
        </p:spPr>
        <p:txBody>
          <a:bodyPr anchor="ctr"/>
          <a:lstStyle>
            <a:lvl1pPr algn="ctr">
              <a:defRPr sz="1333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  <a:br>
              <a:rPr lang="en-US"/>
            </a:br>
            <a:r>
              <a:rPr lang="en-US"/>
              <a:t>NAME</a:t>
            </a:r>
          </a:p>
        </p:txBody>
      </p:sp>
      <p:sp>
        <p:nvSpPr>
          <p:cNvPr id="81" name="Text Placeholder 83">
            <a:extLst>
              <a:ext uri="{FF2B5EF4-FFF2-40B4-BE49-F238E27FC236}">
                <a16:creationId xmlns:a16="http://schemas.microsoft.com/office/drawing/2014/main" id="{5C5EE014-FA3C-934A-8CC2-11203FE9A741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231479" y="3737627"/>
            <a:ext cx="1828800" cy="609600"/>
          </a:xfrm>
        </p:spPr>
        <p:txBody>
          <a:bodyPr anchor="ctr"/>
          <a:lstStyle>
            <a:lvl1pPr algn="ctr">
              <a:defRPr sz="1333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  <a:br>
              <a:rPr lang="en-US"/>
            </a:br>
            <a:r>
              <a:rPr lang="en-US"/>
              <a:t>NAME</a:t>
            </a:r>
          </a:p>
        </p:txBody>
      </p:sp>
      <p:sp>
        <p:nvSpPr>
          <p:cNvPr id="82" name="Text Placeholder 83">
            <a:extLst>
              <a:ext uri="{FF2B5EF4-FFF2-40B4-BE49-F238E27FC236}">
                <a16:creationId xmlns:a16="http://schemas.microsoft.com/office/drawing/2014/main" id="{74D84BBC-123F-1A43-93FC-3CFAE59BCAF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2282823" y="3737627"/>
            <a:ext cx="1828800" cy="609600"/>
          </a:xfrm>
        </p:spPr>
        <p:txBody>
          <a:bodyPr anchor="ctr"/>
          <a:lstStyle>
            <a:lvl1pPr algn="ctr">
              <a:defRPr sz="1333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  <a:br>
              <a:rPr lang="en-US"/>
            </a:br>
            <a:r>
              <a:rPr lang="en-US"/>
              <a:t>NAME</a:t>
            </a:r>
          </a:p>
        </p:txBody>
      </p:sp>
      <p:sp>
        <p:nvSpPr>
          <p:cNvPr id="83" name="Text Placeholder 83">
            <a:extLst>
              <a:ext uri="{FF2B5EF4-FFF2-40B4-BE49-F238E27FC236}">
                <a16:creationId xmlns:a16="http://schemas.microsoft.com/office/drawing/2014/main" id="{E3CEB27D-3F84-414C-A9E6-D9D7C74631F1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58772" y="3737627"/>
            <a:ext cx="1828800" cy="609600"/>
          </a:xfrm>
        </p:spPr>
        <p:txBody>
          <a:bodyPr anchor="ctr"/>
          <a:lstStyle>
            <a:lvl1pPr algn="ctr">
              <a:defRPr sz="1333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  <a:br>
              <a:rPr lang="en-US"/>
            </a:br>
            <a:r>
              <a:rPr lang="en-US"/>
              <a:t>NAME</a:t>
            </a:r>
          </a:p>
        </p:txBody>
      </p:sp>
      <p:sp>
        <p:nvSpPr>
          <p:cNvPr id="84" name="Text Placeholder 83">
            <a:extLst>
              <a:ext uri="{FF2B5EF4-FFF2-40B4-BE49-F238E27FC236}">
                <a16:creationId xmlns:a16="http://schemas.microsoft.com/office/drawing/2014/main" id="{A8DEC50F-D19F-3E42-B6E0-D5D8747938E8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9979028" y="3737627"/>
            <a:ext cx="1828800" cy="609600"/>
          </a:xfrm>
        </p:spPr>
        <p:txBody>
          <a:bodyPr anchor="ctr"/>
          <a:lstStyle>
            <a:lvl1pPr algn="ctr">
              <a:defRPr sz="1333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  <a:br>
              <a:rPr lang="en-US"/>
            </a:br>
            <a:r>
              <a:rPr lang="en-US"/>
              <a:t>NAME</a:t>
            </a:r>
          </a:p>
        </p:txBody>
      </p:sp>
      <p:sp>
        <p:nvSpPr>
          <p:cNvPr id="85" name="Text Placeholder 83">
            <a:extLst>
              <a:ext uri="{FF2B5EF4-FFF2-40B4-BE49-F238E27FC236}">
                <a16:creationId xmlns:a16="http://schemas.microsoft.com/office/drawing/2014/main" id="{5F13B1BB-C6ED-8D4C-B525-B29C84CF81AC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8054975" y="3737627"/>
            <a:ext cx="1828800" cy="609600"/>
          </a:xfrm>
        </p:spPr>
        <p:txBody>
          <a:bodyPr anchor="ctr"/>
          <a:lstStyle>
            <a:lvl1pPr algn="ctr">
              <a:defRPr sz="1333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  <a:br>
              <a:rPr lang="en-US"/>
            </a:br>
            <a:r>
              <a:rPr lang="en-US"/>
              <a:t>NAME</a:t>
            </a:r>
          </a:p>
        </p:txBody>
      </p:sp>
      <p:sp>
        <p:nvSpPr>
          <p:cNvPr id="86" name="Text Placeholder 83">
            <a:extLst>
              <a:ext uri="{FF2B5EF4-FFF2-40B4-BE49-F238E27FC236}">
                <a16:creationId xmlns:a16="http://schemas.microsoft.com/office/drawing/2014/main" id="{1E7FF1AB-94A1-0D46-9FC7-2674161836D7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130924" y="3737627"/>
            <a:ext cx="1828800" cy="609600"/>
          </a:xfrm>
        </p:spPr>
        <p:txBody>
          <a:bodyPr anchor="ctr"/>
          <a:lstStyle>
            <a:lvl1pPr algn="ctr">
              <a:defRPr sz="1333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  <a:br>
              <a:rPr lang="en-US"/>
            </a:br>
            <a:r>
              <a:rPr lang="en-US"/>
              <a:t>NAME</a:t>
            </a:r>
          </a:p>
        </p:txBody>
      </p:sp>
      <p:sp>
        <p:nvSpPr>
          <p:cNvPr id="87" name="Text Placeholder 83">
            <a:extLst>
              <a:ext uri="{FF2B5EF4-FFF2-40B4-BE49-F238E27FC236}">
                <a16:creationId xmlns:a16="http://schemas.microsoft.com/office/drawing/2014/main" id="{2C8A6B46-DBF7-AC42-94CC-097C3D192555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231479" y="5558756"/>
            <a:ext cx="1828800" cy="609600"/>
          </a:xfrm>
        </p:spPr>
        <p:txBody>
          <a:bodyPr anchor="ctr"/>
          <a:lstStyle>
            <a:lvl1pPr algn="ctr">
              <a:defRPr sz="1333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  <a:br>
              <a:rPr lang="en-US"/>
            </a:br>
            <a:r>
              <a:rPr lang="en-US"/>
              <a:t>NAME</a:t>
            </a:r>
          </a:p>
        </p:txBody>
      </p:sp>
      <p:sp>
        <p:nvSpPr>
          <p:cNvPr id="88" name="Text Placeholder 83">
            <a:extLst>
              <a:ext uri="{FF2B5EF4-FFF2-40B4-BE49-F238E27FC236}">
                <a16:creationId xmlns:a16="http://schemas.microsoft.com/office/drawing/2014/main" id="{ABBACA32-076F-1D41-B4FB-BA3ED4498E9F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2282823" y="5558756"/>
            <a:ext cx="1828800" cy="609600"/>
          </a:xfrm>
        </p:spPr>
        <p:txBody>
          <a:bodyPr anchor="ctr"/>
          <a:lstStyle>
            <a:lvl1pPr algn="ctr">
              <a:defRPr sz="1333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  <a:br>
              <a:rPr lang="en-US"/>
            </a:br>
            <a:r>
              <a:rPr lang="en-US"/>
              <a:t>NAME</a:t>
            </a:r>
          </a:p>
        </p:txBody>
      </p:sp>
      <p:sp>
        <p:nvSpPr>
          <p:cNvPr id="89" name="Text Placeholder 83">
            <a:extLst>
              <a:ext uri="{FF2B5EF4-FFF2-40B4-BE49-F238E27FC236}">
                <a16:creationId xmlns:a16="http://schemas.microsoft.com/office/drawing/2014/main" id="{735CB186-30CE-9E44-9028-E198C544D1E3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358772" y="5558756"/>
            <a:ext cx="1828800" cy="609600"/>
          </a:xfrm>
        </p:spPr>
        <p:txBody>
          <a:bodyPr anchor="ctr"/>
          <a:lstStyle>
            <a:lvl1pPr algn="ctr">
              <a:defRPr sz="1333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  <a:br>
              <a:rPr lang="en-US"/>
            </a:br>
            <a:r>
              <a:rPr lang="en-US"/>
              <a:t>NAME</a:t>
            </a:r>
          </a:p>
        </p:txBody>
      </p:sp>
      <p:sp>
        <p:nvSpPr>
          <p:cNvPr id="90" name="Text Placeholder 83">
            <a:extLst>
              <a:ext uri="{FF2B5EF4-FFF2-40B4-BE49-F238E27FC236}">
                <a16:creationId xmlns:a16="http://schemas.microsoft.com/office/drawing/2014/main" id="{104600B6-B6CC-E847-9A5F-0779C37F2D2D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9979028" y="5558756"/>
            <a:ext cx="1828800" cy="609600"/>
          </a:xfrm>
        </p:spPr>
        <p:txBody>
          <a:bodyPr anchor="ctr"/>
          <a:lstStyle>
            <a:lvl1pPr algn="ctr">
              <a:defRPr sz="1333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  <a:br>
              <a:rPr lang="en-US"/>
            </a:br>
            <a:r>
              <a:rPr lang="en-US"/>
              <a:t>NAME</a:t>
            </a:r>
          </a:p>
        </p:txBody>
      </p:sp>
      <p:sp>
        <p:nvSpPr>
          <p:cNvPr id="91" name="Text Placeholder 83">
            <a:extLst>
              <a:ext uri="{FF2B5EF4-FFF2-40B4-BE49-F238E27FC236}">
                <a16:creationId xmlns:a16="http://schemas.microsoft.com/office/drawing/2014/main" id="{FCB68CAC-E578-D548-9EB3-CC94BF3B1168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8054975" y="5558756"/>
            <a:ext cx="1828800" cy="609600"/>
          </a:xfrm>
        </p:spPr>
        <p:txBody>
          <a:bodyPr anchor="ctr"/>
          <a:lstStyle>
            <a:lvl1pPr algn="ctr">
              <a:defRPr sz="1333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  <a:br>
              <a:rPr lang="en-US"/>
            </a:br>
            <a:r>
              <a:rPr lang="en-US"/>
              <a:t>NAME</a:t>
            </a:r>
          </a:p>
        </p:txBody>
      </p:sp>
      <p:sp>
        <p:nvSpPr>
          <p:cNvPr id="92" name="Text Placeholder 83">
            <a:extLst>
              <a:ext uri="{FF2B5EF4-FFF2-40B4-BE49-F238E27FC236}">
                <a16:creationId xmlns:a16="http://schemas.microsoft.com/office/drawing/2014/main" id="{BA3EB425-E682-1647-82FF-7FB270B45444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6130924" y="5558756"/>
            <a:ext cx="1828800" cy="609600"/>
          </a:xfrm>
        </p:spPr>
        <p:txBody>
          <a:bodyPr anchor="ctr"/>
          <a:lstStyle>
            <a:lvl1pPr algn="ctr">
              <a:defRPr sz="1333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  <a:br>
              <a:rPr lang="en-US"/>
            </a:br>
            <a:r>
              <a:rPr lang="en-US"/>
              <a:t>NAME</a:t>
            </a:r>
          </a:p>
        </p:txBody>
      </p:sp>
    </p:spTree>
    <p:extLst>
      <p:ext uri="{BB962C8B-B14F-4D97-AF65-F5344CB8AC3E}">
        <p14:creationId xmlns:p14="http://schemas.microsoft.com/office/powerpoint/2010/main" val="3361686654"/>
      </p:ext>
    </p:extLst>
  </p:cSld>
  <p:clrMapOvr>
    <a:masterClrMapping/>
  </p:clrMapOvr>
  <p:transition>
    <p:fade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CBFDDF4-0565-424E-AFE7-6000EF98D79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anchor="t"/>
          <a:lstStyle/>
          <a:p>
            <a:r>
              <a:rPr lang="en-US"/>
              <a:t>Click to Add Title</a:t>
            </a:r>
          </a:p>
        </p:txBody>
      </p:sp>
      <p:sp>
        <p:nvSpPr>
          <p:cNvPr id="7" name="Slide Number Placeholder 2">
            <a:extLst>
              <a:ext uri="{FF2B5EF4-FFF2-40B4-BE49-F238E27FC236}">
                <a16:creationId xmlns:a16="http://schemas.microsoft.com/office/drawing/2014/main" id="{B4440EE3-552A-AF44-9480-6204DF14801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tx1">
                    <a:lumMod val="50000"/>
                  </a:schemeClr>
                </a:solidFill>
              </a:defRPr>
            </a:lvl1pPr>
          </a:lstStyle>
          <a:p>
            <a:fld id="{AD6BAA4E-5F47-E640-8B90-67FB6D90528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012DAAA0-E373-AC48-98A8-3832013F760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83119" y="1711218"/>
            <a:ext cx="5555541" cy="3868369"/>
          </a:xfrm>
          <a:prstGeom prst="rect">
            <a:avLst/>
          </a:prstGeom>
        </p:spPr>
        <p:txBody>
          <a:bodyPr/>
          <a:lstStyle>
            <a:lvl1pPr>
              <a:buClr>
                <a:schemeClr val="accent2"/>
              </a:buClr>
              <a:defRPr sz="2400">
                <a:solidFill>
                  <a:schemeClr val="tx1"/>
                </a:solidFill>
              </a:defRPr>
            </a:lvl1pPr>
            <a:lvl2pPr>
              <a:buClr>
                <a:schemeClr val="accent1"/>
              </a:buClr>
              <a:defRPr sz="2133">
                <a:solidFill>
                  <a:schemeClr val="tx1"/>
                </a:solidFill>
              </a:defRPr>
            </a:lvl2pPr>
            <a:lvl3pPr>
              <a:buClr>
                <a:schemeClr val="accent1"/>
              </a:buClr>
              <a:defRPr sz="2133">
                <a:solidFill>
                  <a:schemeClr val="tx1"/>
                </a:solidFill>
              </a:defRPr>
            </a:lvl3pPr>
            <a:lvl4pPr>
              <a:buClr>
                <a:schemeClr val="accent1"/>
              </a:buClr>
              <a:defRPr sz="2133">
                <a:solidFill>
                  <a:schemeClr val="tx1"/>
                </a:solidFill>
              </a:defRPr>
            </a:lvl4pPr>
            <a:lvl5pPr>
              <a:buClr>
                <a:schemeClr val="accent1"/>
              </a:buClr>
              <a:defRPr sz="2133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 First level bullet</a:t>
            </a:r>
          </a:p>
          <a:p>
            <a:pPr lvl="2"/>
            <a:r>
              <a:rPr lang="en-US"/>
              <a:t>Second level bullet</a:t>
            </a:r>
          </a:p>
          <a:p>
            <a:pPr lvl="3"/>
            <a:r>
              <a:rPr lang="en-US"/>
              <a:t>Third level bullet</a:t>
            </a:r>
          </a:p>
          <a:p>
            <a:pPr lvl="4"/>
            <a:r>
              <a:rPr lang="en-US"/>
              <a:t>Fourth level bullet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C23D8618-0E2B-404E-946E-F9E1BA8C077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3395" y="1244601"/>
            <a:ext cx="5550260" cy="46778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buFontTx/>
              <a:buNone/>
              <a:defRPr lang="en-US" sz="2667" b="1" smtClean="0">
                <a:solidFill>
                  <a:schemeClr val="accent2"/>
                </a:solidFill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lvl="0">
              <a:buClr>
                <a:schemeClr val="accent1"/>
              </a:buClr>
            </a:pPr>
            <a:r>
              <a:rPr lang="en-US"/>
              <a:t>Click to add text</a:t>
            </a:r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01531373-098A-074F-BF1C-C124A80CE1E4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6253064" y="1711218"/>
            <a:ext cx="5555541" cy="3868369"/>
          </a:xfrm>
          <a:prstGeom prst="rect">
            <a:avLst/>
          </a:prstGeom>
        </p:spPr>
        <p:txBody>
          <a:bodyPr/>
          <a:lstStyle>
            <a:lvl1pPr>
              <a:buClr>
                <a:schemeClr val="accent2"/>
              </a:buClr>
              <a:defRPr sz="2400">
                <a:solidFill>
                  <a:schemeClr val="tx1"/>
                </a:solidFill>
              </a:defRPr>
            </a:lvl1pPr>
            <a:lvl2pPr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tabLst/>
              <a:defRPr lang="en-US" sz="2133" b="0" i="0" kern="1200" baseline="0" dirty="0" smtClean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2pPr>
            <a:lvl3pPr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tabLst/>
              <a:defRPr lang="en-US" sz="2133" b="0" i="0" kern="1200" baseline="0" dirty="0" smtClean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3pPr>
            <a:lvl4pPr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tabLst/>
              <a:defRPr lang="en-US" sz="2133" b="0" i="0" kern="1200" baseline="0" dirty="0" smtClean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4pPr>
            <a:lvl5pPr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tabLst/>
              <a:defRPr lang="en-US" sz="2133" b="0" i="0" kern="1200" baseline="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5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 First level bullet</a:t>
            </a:r>
          </a:p>
          <a:p>
            <a:pPr lvl="2"/>
            <a:r>
              <a:rPr lang="en-US"/>
              <a:t>Second level bullet</a:t>
            </a:r>
          </a:p>
          <a:p>
            <a:pPr lvl="3"/>
            <a:r>
              <a:rPr lang="en-US"/>
              <a:t>Third level bullet</a:t>
            </a:r>
          </a:p>
          <a:p>
            <a:pPr lvl="4"/>
            <a:r>
              <a:rPr lang="en-US"/>
              <a:t>Fourth level bullet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35A0AF76-EE65-6441-AAF2-1CD54D826919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6253341" y="1244601"/>
            <a:ext cx="5550260" cy="46778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buFontTx/>
              <a:buNone/>
              <a:defRPr lang="en-US" sz="2667" b="1" i="0" kern="1200" dirty="0">
                <a:solidFill>
                  <a:schemeClr val="accent2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L="0" lvl="0" indent="0" algn="l" defTabSz="609585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accent1"/>
              </a:buClr>
              <a:buFontTx/>
              <a:buNone/>
            </a:pPr>
            <a:r>
              <a:rPr lang="en-US"/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val="794395692"/>
      </p:ext>
    </p:extLst>
  </p:cSld>
  <p:clrMapOvr>
    <a:masterClrMapping/>
  </p:clrMapOvr>
  <p:transition>
    <p:fade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27C3234-2208-4FD5-BA5D-47924B90C3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anchor="t"/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7" name="Slide Number Placeholder 2">
            <a:extLst>
              <a:ext uri="{FF2B5EF4-FFF2-40B4-BE49-F238E27FC236}">
                <a16:creationId xmlns:a16="http://schemas.microsoft.com/office/drawing/2014/main" id="{16147AFB-E946-2043-B8E5-BB294628B15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tx1">
                    <a:lumMod val="50000"/>
                  </a:schemeClr>
                </a:solidFill>
              </a:defRPr>
            </a:lvl1pPr>
          </a:lstStyle>
          <a:p>
            <a:fld id="{AD6BAA4E-5F47-E640-8B90-67FB6D90528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43D6C8D-8A82-6547-834D-08832A7F4E56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383396" y="1200505"/>
            <a:ext cx="5712605" cy="4725865"/>
          </a:xfrm>
          <a:prstGeom prst="rect">
            <a:avLst/>
          </a:prstGeom>
        </p:spPr>
        <p:txBody>
          <a:bodyPr/>
          <a:lstStyle>
            <a:lvl1pPr>
              <a:buClr>
                <a:schemeClr val="accent2"/>
              </a:buClr>
              <a:defRPr sz="2667">
                <a:solidFill>
                  <a:schemeClr val="tx1"/>
                </a:solidFill>
              </a:defRPr>
            </a:lvl1pPr>
            <a:lvl2pPr>
              <a:buClr>
                <a:schemeClr val="accent1"/>
              </a:buClr>
              <a:defRPr sz="2400">
                <a:solidFill>
                  <a:schemeClr val="tx1"/>
                </a:solidFill>
              </a:defRPr>
            </a:lvl2pPr>
            <a:lvl3pPr>
              <a:buClr>
                <a:schemeClr val="accent1"/>
              </a:buClr>
              <a:defRPr sz="2400">
                <a:solidFill>
                  <a:schemeClr val="tx1"/>
                </a:solidFill>
              </a:defRPr>
            </a:lvl3pPr>
            <a:lvl4pPr>
              <a:buClr>
                <a:schemeClr val="accent1"/>
              </a:buClr>
              <a:defRPr sz="2400">
                <a:solidFill>
                  <a:schemeClr val="tx1"/>
                </a:solidFill>
              </a:defRPr>
            </a:lvl4pPr>
            <a:lvl5pPr>
              <a:buClr>
                <a:schemeClr val="accent1"/>
              </a:buClr>
              <a:defRPr sz="2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 First level bullet</a:t>
            </a:r>
          </a:p>
          <a:p>
            <a:pPr lvl="2"/>
            <a:r>
              <a:rPr lang="en-US"/>
              <a:t>Second level bullet</a:t>
            </a:r>
          </a:p>
          <a:p>
            <a:pPr lvl="3"/>
            <a:r>
              <a:rPr lang="en-US"/>
              <a:t>Third level bullet</a:t>
            </a:r>
          </a:p>
          <a:p>
            <a:pPr lvl="4"/>
            <a:r>
              <a:rPr lang="en-US"/>
              <a:t>Fourth level bullet</a:t>
            </a:r>
          </a:p>
        </p:txBody>
      </p:sp>
      <p:sp>
        <p:nvSpPr>
          <p:cNvPr id="9" name="Content Placeholder 4">
            <a:extLst>
              <a:ext uri="{FF2B5EF4-FFF2-40B4-BE49-F238E27FC236}">
                <a16:creationId xmlns:a16="http://schemas.microsoft.com/office/drawing/2014/main" id="{F4DFD411-C23C-F74E-8A37-6756D4E42E6E}"/>
              </a:ext>
            </a:extLst>
          </p:cNvPr>
          <p:cNvSpPr>
            <a:spLocks noGrp="1"/>
          </p:cNvSpPr>
          <p:nvPr>
            <p:ph sz="quarter" idx="41" hasCustomPrompt="1"/>
          </p:nvPr>
        </p:nvSpPr>
        <p:spPr>
          <a:xfrm>
            <a:off x="6096001" y="1200505"/>
            <a:ext cx="5712884" cy="4726516"/>
          </a:xfrm>
        </p:spPr>
        <p:txBody>
          <a:bodyPr/>
          <a:lstStyle>
            <a:lvl1pPr algn="ctr">
              <a:defRPr i="1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US"/>
              <a:t>Click icon to add visual content </a:t>
            </a:r>
          </a:p>
        </p:txBody>
      </p:sp>
    </p:spTree>
    <p:extLst>
      <p:ext uri="{BB962C8B-B14F-4D97-AF65-F5344CB8AC3E}">
        <p14:creationId xmlns:p14="http://schemas.microsoft.com/office/powerpoint/2010/main" val="12029048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HREE COLUMN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CBFDDF4-0565-424E-AFE7-6000EF98D79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anchor="t"/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6" name="Slide Number Placeholder 2">
            <a:extLst>
              <a:ext uri="{FF2B5EF4-FFF2-40B4-BE49-F238E27FC236}">
                <a16:creationId xmlns:a16="http://schemas.microsoft.com/office/drawing/2014/main" id="{3147A9F1-AD8E-3645-9379-6B893AB12C3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tx1">
                    <a:lumMod val="50000"/>
                  </a:schemeClr>
                </a:solidFill>
              </a:defRPr>
            </a:lvl1pPr>
          </a:lstStyle>
          <a:p>
            <a:fld id="{AD6BAA4E-5F47-E640-8B90-67FB6D90528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DA2BF071-AE4D-8E45-935F-2681E9C1BE9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83395" y="889001"/>
            <a:ext cx="11425211" cy="452967"/>
          </a:xfrm>
          <a:prstGeom prst="rect">
            <a:avLst/>
          </a:prstGeom>
        </p:spPr>
        <p:txBody>
          <a:bodyPr anchor="b">
            <a:noAutofit/>
          </a:bodyPr>
          <a:lstStyle>
            <a:lvl1pPr>
              <a:defRPr lang="en-US" sz="2400" b="0" i="0" kern="1200" dirty="0">
                <a:solidFill>
                  <a:schemeClr val="accent2"/>
                </a:solidFill>
                <a:latin typeface="+mj-lt"/>
                <a:ea typeface="Helvetica Neue Thin" panose="020B0403020202020204" pitchFamily="34" charset="0"/>
                <a:cs typeface="+mn-cs"/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39ADDB19-34AC-C243-A8FD-610E5CEE3192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383395" y="1573356"/>
            <a:ext cx="3670048" cy="4302512"/>
          </a:xfrm>
          <a:prstGeom prst="rect">
            <a:avLst/>
          </a:prstGeom>
        </p:spPr>
        <p:txBody>
          <a:bodyPr/>
          <a:lstStyle>
            <a:lvl1pPr algn="l">
              <a:defRPr b="1">
                <a:solidFill>
                  <a:schemeClr val="accent1"/>
                </a:solidFill>
              </a:defRPr>
            </a:lvl1pPr>
            <a:lvl2pPr algn="ctr">
              <a:defRPr/>
            </a:lvl2pPr>
            <a:lvl3pPr algn="ctr">
              <a:defRPr/>
            </a:lvl3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9" name="Text Placeholder 7">
            <a:extLst>
              <a:ext uri="{FF2B5EF4-FFF2-40B4-BE49-F238E27FC236}">
                <a16:creationId xmlns:a16="http://schemas.microsoft.com/office/drawing/2014/main" id="{3A255D53-0948-D84D-94AB-AEE25B7F1C78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4260976" y="1573356"/>
            <a:ext cx="3670048" cy="4302512"/>
          </a:xfrm>
          <a:prstGeom prst="rect">
            <a:avLst/>
          </a:prstGeom>
        </p:spPr>
        <p:txBody>
          <a:bodyPr/>
          <a:lstStyle>
            <a:lvl1pPr algn="l">
              <a:defRPr b="1">
                <a:solidFill>
                  <a:schemeClr val="accent3"/>
                </a:solidFill>
              </a:defRPr>
            </a:lvl1pPr>
            <a:lvl2pPr algn="ctr">
              <a:defRPr/>
            </a:lvl2pPr>
            <a:lvl3pPr algn="ctr">
              <a:defRPr/>
            </a:lvl3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20" name="Text Placeholder 7">
            <a:extLst>
              <a:ext uri="{FF2B5EF4-FFF2-40B4-BE49-F238E27FC236}">
                <a16:creationId xmlns:a16="http://schemas.microsoft.com/office/drawing/2014/main" id="{8738666D-BA63-224B-97ED-9BAE97313998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8138557" y="1573356"/>
            <a:ext cx="3670048" cy="4302512"/>
          </a:xfrm>
          <a:prstGeom prst="rect">
            <a:avLst/>
          </a:prstGeom>
        </p:spPr>
        <p:txBody>
          <a:bodyPr/>
          <a:lstStyle>
            <a:lvl1pPr algn="l">
              <a:defRPr b="1">
                <a:solidFill>
                  <a:schemeClr val="accent4"/>
                </a:solidFill>
              </a:defRPr>
            </a:lvl1pPr>
            <a:lvl2pPr algn="ctr">
              <a:defRPr/>
            </a:lvl2pPr>
            <a:lvl3pPr algn="ctr">
              <a:defRPr/>
            </a:lvl3pPr>
          </a:lstStyle>
          <a:p>
            <a:pPr lvl="0"/>
            <a:r>
              <a:rPr lang="en-US"/>
              <a:t>Click to add text</a:t>
            </a:r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04549189-4063-FA48-BAF9-6D857CBC674B}"/>
              </a:ext>
            </a:extLst>
          </p:cNvPr>
          <p:cNvCxnSpPr/>
          <p:nvPr/>
        </p:nvCxnSpPr>
        <p:spPr>
          <a:xfrm>
            <a:off x="4158807" y="1556130"/>
            <a:ext cx="0" cy="4319737"/>
          </a:xfrm>
          <a:prstGeom prst="line">
            <a:avLst/>
          </a:prstGeom>
          <a:ln w="19050" cap="rnd" cmpd="sng">
            <a:solidFill>
              <a:schemeClr val="bg1">
                <a:lumMod val="50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EB72B88B-B109-0B45-A97D-97E7B5D0965B}"/>
              </a:ext>
            </a:extLst>
          </p:cNvPr>
          <p:cNvCxnSpPr/>
          <p:nvPr/>
        </p:nvCxnSpPr>
        <p:spPr>
          <a:xfrm>
            <a:off x="8052783" y="1556130"/>
            <a:ext cx="0" cy="4319737"/>
          </a:xfrm>
          <a:prstGeom prst="line">
            <a:avLst/>
          </a:prstGeom>
          <a:ln w="19050" cap="rnd" cmpd="sng">
            <a:solidFill>
              <a:schemeClr val="bg1">
                <a:lumMod val="50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3" name="Text Placeholder 4">
            <a:extLst>
              <a:ext uri="{FF2B5EF4-FFF2-40B4-BE49-F238E27FC236}">
                <a16:creationId xmlns:a16="http://schemas.microsoft.com/office/drawing/2014/main" id="{371921A8-400A-2E41-A73A-8DAA2301477B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383383" y="2070310"/>
            <a:ext cx="3670048" cy="3805557"/>
          </a:xfrm>
        </p:spPr>
        <p:txBody>
          <a:bodyPr anchor="t"/>
          <a:lstStyle>
            <a:lvl1pPr marL="0" indent="0">
              <a:buClr>
                <a:schemeClr val="accent1"/>
              </a:buClr>
              <a:buFont typeface="Arial" panose="020B0604020202020204" pitchFamily="34" charset="0"/>
              <a:buNone/>
              <a:defRPr lang="en-US" sz="2133" b="0" i="0" kern="1200" baseline="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>
              <a:defRPr lang="en-US" sz="2133" b="0" i="0" kern="1200" baseline="0" dirty="0">
                <a:solidFill>
                  <a:schemeClr val="tx1">
                    <a:lumMod val="50000"/>
                  </a:schemeClr>
                </a:solidFill>
                <a:latin typeface="+mn-lt"/>
                <a:ea typeface="Helvetica Neue Thin" panose="020B0403020202020204" pitchFamily="34" charset="0"/>
                <a:cs typeface="+mn-cs"/>
              </a:defRPr>
            </a:lvl2pPr>
            <a:lvl3pPr>
              <a:defRPr sz="1400"/>
            </a:lvl3pPr>
            <a:lvl4pPr>
              <a:defRPr sz="1333"/>
            </a:lvl4pPr>
            <a:lvl5pPr>
              <a:defRPr sz="1200"/>
            </a:lvl5pPr>
          </a:lstStyle>
          <a:p>
            <a:pPr marL="160863" lvl="0" indent="-160863"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2"/>
              </a:buClr>
              <a:buSzPct val="90000"/>
              <a:buFont typeface="Arial" panose="020B0604020202020204" pitchFamily="34" charset="0"/>
              <a:buChar char="•"/>
              <a:tabLst/>
            </a:pPr>
            <a:r>
              <a:rPr lang="en-US"/>
              <a:t>Click to add text</a:t>
            </a:r>
          </a:p>
        </p:txBody>
      </p:sp>
      <p:sp>
        <p:nvSpPr>
          <p:cNvPr id="24" name="Text Placeholder 4">
            <a:extLst>
              <a:ext uri="{FF2B5EF4-FFF2-40B4-BE49-F238E27FC236}">
                <a16:creationId xmlns:a16="http://schemas.microsoft.com/office/drawing/2014/main" id="{1D70CC68-ED0E-664A-B7A3-3796D1B47E2D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4260969" y="2070310"/>
            <a:ext cx="3670048" cy="3805557"/>
          </a:xfrm>
        </p:spPr>
        <p:txBody>
          <a:bodyPr anchor="t"/>
          <a:lstStyle>
            <a:lvl1pPr marL="160863" indent="-160863"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2"/>
              </a:buClr>
              <a:buSzPct val="90000"/>
              <a:buFont typeface="Arial" panose="020B0604020202020204" pitchFamily="34" charset="0"/>
              <a:buChar char="•"/>
              <a:tabLst/>
              <a:defRPr lang="en-US" sz="2133" b="0" i="0" kern="1200" baseline="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>
              <a:defRPr lang="en-US" sz="2133" b="0" i="0" kern="1200" baseline="0" dirty="0">
                <a:solidFill>
                  <a:schemeClr val="tx1">
                    <a:lumMod val="50000"/>
                  </a:schemeClr>
                </a:solidFill>
                <a:latin typeface="+mn-lt"/>
                <a:ea typeface="Helvetica Neue Thin" panose="020B0403020202020204" pitchFamily="34" charset="0"/>
                <a:cs typeface="+mn-cs"/>
              </a:defRPr>
            </a:lvl2pPr>
            <a:lvl3pPr>
              <a:defRPr sz="1400"/>
            </a:lvl3pPr>
            <a:lvl4pPr>
              <a:defRPr sz="1333"/>
            </a:lvl4pPr>
            <a:lvl5pPr>
              <a:defRPr sz="1200"/>
            </a:lvl5pPr>
          </a:lstStyle>
          <a:p>
            <a:pPr marL="160863" lvl="0" indent="-160863"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2"/>
              </a:buClr>
              <a:buSzPct val="90000"/>
              <a:buFont typeface="Arial" panose="020B0604020202020204" pitchFamily="34" charset="0"/>
              <a:buChar char="•"/>
              <a:tabLst/>
            </a:pPr>
            <a:r>
              <a:rPr lang="en-US"/>
              <a:t>Click to add text</a:t>
            </a:r>
          </a:p>
        </p:txBody>
      </p:sp>
      <p:sp>
        <p:nvSpPr>
          <p:cNvPr id="25" name="Text Placeholder 4">
            <a:extLst>
              <a:ext uri="{FF2B5EF4-FFF2-40B4-BE49-F238E27FC236}">
                <a16:creationId xmlns:a16="http://schemas.microsoft.com/office/drawing/2014/main" id="{AF1B5E4C-DAD1-EB46-821A-451C78F8B018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8138557" y="2070310"/>
            <a:ext cx="3670048" cy="3805557"/>
          </a:xfrm>
        </p:spPr>
        <p:txBody>
          <a:bodyPr anchor="t"/>
          <a:lstStyle>
            <a:lvl1pPr marL="160863" indent="-160863"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Arial" panose="020B0604020202020204" pitchFamily="34" charset="0"/>
              <a:buChar char="•"/>
              <a:tabLst/>
              <a:defRPr lang="en-US" sz="2133" b="0" i="0" kern="1200" baseline="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>
              <a:defRPr lang="en-US" sz="2133" b="0" i="0" kern="1200" baseline="0" dirty="0">
                <a:solidFill>
                  <a:schemeClr val="tx1">
                    <a:lumMod val="50000"/>
                  </a:schemeClr>
                </a:solidFill>
                <a:latin typeface="+mn-lt"/>
                <a:ea typeface="Helvetica Neue Thin" panose="020B0403020202020204" pitchFamily="34" charset="0"/>
                <a:cs typeface="+mn-cs"/>
              </a:defRPr>
            </a:lvl2pPr>
            <a:lvl3pPr>
              <a:defRPr sz="1400"/>
            </a:lvl3pPr>
            <a:lvl4pPr>
              <a:defRPr sz="1333"/>
            </a:lvl4pPr>
            <a:lvl5pPr>
              <a:defRPr sz="1200"/>
            </a:lvl5pPr>
          </a:lstStyle>
          <a:p>
            <a:pPr marL="160863" lvl="0" indent="-160863"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2"/>
              </a:buClr>
              <a:buSzPct val="90000"/>
              <a:buFont typeface="Arial" panose="020B0604020202020204" pitchFamily="34" charset="0"/>
              <a:buChar char="•"/>
              <a:tabLst/>
            </a:pPr>
            <a:r>
              <a:rPr lang="en-US"/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val="21401154"/>
      </p:ext>
    </p:extLst>
  </p:cSld>
  <p:clrMapOvr>
    <a:masterClrMapping/>
  </p:clrMapOvr>
  <p:transition>
    <p:fade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LUMN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CBFDDF4-0565-424E-AFE7-6000EF98D79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anchor="t"/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7" name="Slide Number Placeholder 2">
            <a:extLst>
              <a:ext uri="{FF2B5EF4-FFF2-40B4-BE49-F238E27FC236}">
                <a16:creationId xmlns:a16="http://schemas.microsoft.com/office/drawing/2014/main" id="{89806D76-AE6D-F84A-AC06-2E776C6D5E8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tx1">
                    <a:lumMod val="50000"/>
                  </a:schemeClr>
                </a:solidFill>
              </a:defRPr>
            </a:lvl1pPr>
          </a:lstStyle>
          <a:p>
            <a:fld id="{AD6BAA4E-5F47-E640-8B90-67FB6D90528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B08083DE-52D5-E149-8D08-325D751A5A8F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397861" y="3769607"/>
            <a:ext cx="11425208" cy="393763"/>
          </a:xfrm>
          <a:prstGeom prst="rect">
            <a:avLst/>
          </a:prstGeom>
          <a:solidFill>
            <a:schemeClr val="tx2"/>
          </a:solidFill>
          <a:ln w="28575">
            <a:noFill/>
            <a:miter lim="800000"/>
          </a:ln>
          <a:effectLst/>
        </p:spPr>
        <p:txBody>
          <a:bodyPr anchor="ctr" anchorCtr="0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buFontTx/>
              <a:buNone/>
              <a:defRPr lang="en-US" sz="2133" b="1" i="0" kern="1200" dirty="0">
                <a:solidFill>
                  <a:schemeClr val="bg1"/>
                </a:solidFill>
                <a:latin typeface="+mj-lt"/>
                <a:ea typeface="Helvetica Neue Thin" panose="020B0403020202020204" pitchFamily="34" charset="0"/>
                <a:cs typeface="+mn-cs"/>
              </a:defRPr>
            </a:lvl1pPr>
          </a:lstStyle>
          <a:p>
            <a:pPr marL="0" lvl="0" indent="0" algn="l" defTabSz="609585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Tx/>
              <a:buNone/>
            </a:pPr>
            <a:r>
              <a:rPr lang="en-US"/>
              <a:t>Click to add text</a:t>
            </a:r>
          </a:p>
        </p:txBody>
      </p:sp>
      <p:sp>
        <p:nvSpPr>
          <p:cNvPr id="18" name="Text Placeholder 9">
            <a:extLst>
              <a:ext uri="{FF2B5EF4-FFF2-40B4-BE49-F238E27FC236}">
                <a16:creationId xmlns:a16="http://schemas.microsoft.com/office/drawing/2014/main" id="{C1A262DC-1D05-C348-B09B-87862E053E5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397861" y="1570537"/>
            <a:ext cx="5555264" cy="393763"/>
          </a:xfrm>
          <a:prstGeom prst="rect">
            <a:avLst/>
          </a:prstGeom>
          <a:solidFill>
            <a:schemeClr val="accent2"/>
          </a:solidFill>
          <a:ln w="28575">
            <a:noFill/>
            <a:miter lim="800000"/>
          </a:ln>
          <a:effectLst/>
        </p:spPr>
        <p:txBody>
          <a:bodyPr anchor="ctr" anchorCtr="0"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FontTx/>
              <a:buNone/>
              <a:defRPr sz="2133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9F0B25F8-3EB2-D147-84E3-49BABCC17A76}"/>
              </a:ext>
            </a:extLst>
          </p:cNvPr>
          <p:cNvSpPr>
            <a:spLocks noGrp="1"/>
          </p:cNvSpPr>
          <p:nvPr>
            <p:ph idx="37" hasCustomPrompt="1"/>
          </p:nvPr>
        </p:nvSpPr>
        <p:spPr>
          <a:xfrm>
            <a:off x="397861" y="2014803"/>
            <a:ext cx="5555264" cy="1559711"/>
          </a:xfrm>
          <a:prstGeom prst="rect">
            <a:avLst/>
          </a:prstGeom>
        </p:spPr>
        <p:txBody>
          <a:bodyPr>
            <a:normAutofit/>
          </a:bodyPr>
          <a:lstStyle>
            <a:lvl1pPr marL="232828" indent="-232828">
              <a:spcBef>
                <a:spcPts val="1333"/>
              </a:spcBef>
              <a:buClr>
                <a:schemeClr val="accent2"/>
              </a:buClr>
              <a:defRPr sz="2133">
                <a:solidFill>
                  <a:schemeClr val="tx1"/>
                </a:solidFill>
              </a:defRPr>
            </a:lvl1pPr>
            <a:lvl2pPr marL="457189" indent="-152396">
              <a:spcBef>
                <a:spcPts val="667"/>
              </a:spcBef>
              <a:buClr>
                <a:schemeClr val="accent1"/>
              </a:buClr>
              <a:defRPr sz="1867">
                <a:solidFill>
                  <a:schemeClr val="tx1"/>
                </a:solidFill>
              </a:defRPr>
            </a:lvl2pPr>
            <a:lvl3pPr marL="683667" indent="-150280">
              <a:spcBef>
                <a:spcPts val="267"/>
              </a:spcBef>
              <a:buClr>
                <a:schemeClr val="accent1"/>
              </a:buClr>
              <a:defRPr sz="1867">
                <a:solidFill>
                  <a:schemeClr val="tx1"/>
                </a:solidFill>
              </a:defRPr>
            </a:lvl3pPr>
            <a:lvl4pPr marL="914377" indent="-152396">
              <a:spcBef>
                <a:spcPts val="267"/>
              </a:spcBef>
              <a:defRPr sz="1467"/>
            </a:lvl4pPr>
            <a:lvl5pPr marL="1142971" indent="-152396">
              <a:spcBef>
                <a:spcPts val="267"/>
              </a:spcBef>
              <a:defRPr sz="1400"/>
            </a:lvl5pPr>
          </a:lstStyle>
          <a:p>
            <a:pPr lvl="0"/>
            <a:r>
              <a:rPr lang="en-US"/>
              <a:t>Click to add text or click icon to add content</a:t>
            </a:r>
          </a:p>
          <a:p>
            <a:pPr lvl="1"/>
            <a:r>
              <a:rPr lang="en-US"/>
              <a:t> First level bullet</a:t>
            </a:r>
          </a:p>
          <a:p>
            <a:pPr lvl="2"/>
            <a:r>
              <a:rPr lang="en-US"/>
              <a:t>Second level bullet</a:t>
            </a:r>
          </a:p>
          <a:p>
            <a:pPr lvl="2"/>
            <a:endParaRPr lang="en-US"/>
          </a:p>
        </p:txBody>
      </p:sp>
      <p:sp>
        <p:nvSpPr>
          <p:cNvPr id="20" name="Text Placeholder 9">
            <a:extLst>
              <a:ext uri="{FF2B5EF4-FFF2-40B4-BE49-F238E27FC236}">
                <a16:creationId xmlns:a16="http://schemas.microsoft.com/office/drawing/2014/main" id="{512B9BFD-4472-BD41-986C-F3840C2CF270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253341" y="1570537"/>
            <a:ext cx="5555264" cy="393763"/>
          </a:xfrm>
          <a:prstGeom prst="rect">
            <a:avLst/>
          </a:prstGeom>
          <a:solidFill>
            <a:schemeClr val="accent1"/>
          </a:solidFill>
          <a:ln w="28575">
            <a:noFill/>
            <a:miter lim="800000"/>
          </a:ln>
          <a:effectLst/>
        </p:spPr>
        <p:txBody>
          <a:bodyPr anchor="ctr" anchorCtr="0"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FontTx/>
              <a:buNone/>
              <a:defRPr lang="en-US" sz="2133" b="1" i="0" kern="1200" dirty="0">
                <a:solidFill>
                  <a:schemeClr val="bg1"/>
                </a:solidFill>
                <a:latin typeface="+mj-lt"/>
                <a:ea typeface="Helvetica Neue Thin" panose="020B0403020202020204" pitchFamily="34" charset="0"/>
                <a:cs typeface="+mn-cs"/>
              </a:defRPr>
            </a:lvl1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FAD42C32-5D56-7F43-8866-4CC2420C9287}"/>
              </a:ext>
            </a:extLst>
          </p:cNvPr>
          <p:cNvSpPr>
            <a:spLocks noGrp="1"/>
          </p:cNvSpPr>
          <p:nvPr>
            <p:ph idx="46" hasCustomPrompt="1"/>
          </p:nvPr>
        </p:nvSpPr>
        <p:spPr>
          <a:xfrm>
            <a:off x="6253341" y="2014803"/>
            <a:ext cx="5555264" cy="1559711"/>
          </a:xfrm>
          <a:prstGeom prst="rect">
            <a:avLst/>
          </a:prstGeom>
        </p:spPr>
        <p:txBody>
          <a:bodyPr/>
          <a:lstStyle>
            <a:lvl1pPr marL="228594" indent="-228594">
              <a:spcBef>
                <a:spcPts val="1333"/>
              </a:spcBef>
              <a:buClr>
                <a:schemeClr val="accent2"/>
              </a:buClr>
              <a:defRPr sz="2133">
                <a:solidFill>
                  <a:schemeClr val="tx1"/>
                </a:solidFill>
              </a:defRPr>
            </a:lvl1pPr>
            <a:lvl2pPr marL="457189" indent="-152396" algn="l" defTabSz="609585" rtl="0" eaLnBrk="1" latinLnBrk="0" hangingPunct="1">
              <a:lnSpc>
                <a:spcPct val="100000"/>
              </a:lnSpc>
              <a:spcBef>
                <a:spcPts val="667"/>
              </a:spcBef>
              <a:spcAft>
                <a:spcPts val="0"/>
              </a:spcAft>
              <a:buClr>
                <a:schemeClr val="accent1"/>
              </a:buClr>
              <a:buSzPct val="90000"/>
              <a:tabLst/>
              <a:defRPr lang="en-US" sz="1867" b="0" i="0" kern="1200" baseline="0" dirty="0" smtClean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2pPr>
            <a:lvl3pPr marL="687900" indent="-154513" algn="l" defTabSz="609585" rtl="0" eaLnBrk="1" latinLnBrk="0" hangingPunct="1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Clr>
                <a:schemeClr val="accent1"/>
              </a:buClr>
              <a:buSzPct val="90000"/>
              <a:tabLst/>
              <a:defRPr lang="en-US" sz="1867" b="0" i="0" kern="1200" baseline="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3pPr>
            <a:lvl4pPr marL="918610" indent="-156629">
              <a:spcBef>
                <a:spcPts val="267"/>
              </a:spcBef>
              <a:defRPr sz="1467"/>
            </a:lvl4pPr>
            <a:lvl5pPr marL="1138738" indent="-146047">
              <a:spcBef>
                <a:spcPts val="267"/>
              </a:spcBef>
              <a:defRPr sz="1400"/>
            </a:lvl5pPr>
          </a:lstStyle>
          <a:p>
            <a:pPr lvl="0"/>
            <a:r>
              <a:rPr lang="en-US"/>
              <a:t>Click to add text or click icon to add content</a:t>
            </a:r>
          </a:p>
          <a:p>
            <a:pPr lvl="1"/>
            <a:r>
              <a:rPr lang="en-US"/>
              <a:t> First level bullet</a:t>
            </a:r>
          </a:p>
          <a:p>
            <a:pPr lvl="2"/>
            <a:r>
              <a:rPr lang="en-US"/>
              <a:t>Second level bullet</a:t>
            </a:r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84C6F284-9CD8-5C47-836F-04262A033762}"/>
              </a:ext>
            </a:extLst>
          </p:cNvPr>
          <p:cNvSpPr>
            <a:spLocks noGrp="1"/>
          </p:cNvSpPr>
          <p:nvPr>
            <p:ph idx="47" hasCustomPrompt="1"/>
          </p:nvPr>
        </p:nvSpPr>
        <p:spPr>
          <a:xfrm>
            <a:off x="397861" y="4221458"/>
            <a:ext cx="11425209" cy="1654409"/>
          </a:xfrm>
          <a:prstGeom prst="rect">
            <a:avLst/>
          </a:prstGeom>
        </p:spPr>
        <p:txBody>
          <a:bodyPr>
            <a:normAutofit/>
          </a:bodyPr>
          <a:lstStyle>
            <a:lvl1pPr marL="228594" indent="-228594">
              <a:spcBef>
                <a:spcPts val="1333"/>
              </a:spcBef>
              <a:buClr>
                <a:schemeClr val="accent2"/>
              </a:buClr>
              <a:defRPr sz="2133">
                <a:solidFill>
                  <a:schemeClr val="tx1"/>
                </a:solidFill>
              </a:defRPr>
            </a:lvl1pPr>
            <a:lvl2pPr marL="457189" indent="-152396" algn="l" defTabSz="609585" rtl="0" eaLnBrk="1" latinLnBrk="0" hangingPunct="1">
              <a:lnSpc>
                <a:spcPct val="100000"/>
              </a:lnSpc>
              <a:spcBef>
                <a:spcPts val="667"/>
              </a:spcBef>
              <a:spcAft>
                <a:spcPts val="0"/>
              </a:spcAft>
              <a:buClr>
                <a:schemeClr val="accent1"/>
              </a:buClr>
              <a:buSzPct val="90000"/>
              <a:tabLst/>
              <a:defRPr lang="en-US" sz="1867" b="0" i="0" kern="1200" baseline="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2pPr>
            <a:lvl3pPr marL="687900" indent="-154513" algn="l" defTabSz="609585" rtl="0" eaLnBrk="1" latinLnBrk="0" hangingPunct="1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Clr>
                <a:schemeClr val="accent1"/>
              </a:buClr>
              <a:buSzPct val="90000"/>
              <a:tabLst/>
              <a:defRPr lang="en-US" sz="1867" b="0" i="0" kern="1200" baseline="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3pPr>
            <a:lvl4pPr marL="918610" indent="-156629">
              <a:spcBef>
                <a:spcPts val="267"/>
              </a:spcBef>
              <a:defRPr sz="1467"/>
            </a:lvl4pPr>
            <a:lvl5pPr marL="1138738" indent="-146047">
              <a:spcBef>
                <a:spcPts val="267"/>
              </a:spcBef>
              <a:defRPr sz="1400"/>
            </a:lvl5pPr>
          </a:lstStyle>
          <a:p>
            <a:pPr lvl="0"/>
            <a:r>
              <a:rPr lang="en-US"/>
              <a:t>Click to add text or click icon to add content</a:t>
            </a:r>
          </a:p>
          <a:p>
            <a:pPr lvl="1"/>
            <a:r>
              <a:rPr lang="en-US"/>
              <a:t> First level bullet</a:t>
            </a:r>
          </a:p>
          <a:p>
            <a:pPr lvl="2"/>
            <a:r>
              <a:rPr lang="en-US"/>
              <a:t>Second level bullet</a:t>
            </a:r>
          </a:p>
          <a:p>
            <a:pPr lvl="2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28927938"/>
      </p:ext>
    </p:extLst>
  </p:cSld>
  <p:clrMapOvr>
    <a:masterClrMapping/>
  </p:clrMapOvr>
  <p:transition>
    <p:fade/>
  </p:transition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 COLUMN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CBFDDF4-0565-424E-AFE7-6000EF98D79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anchor="t"/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8" name="Slide Number Placeholder 2">
            <a:extLst>
              <a:ext uri="{FF2B5EF4-FFF2-40B4-BE49-F238E27FC236}">
                <a16:creationId xmlns:a16="http://schemas.microsoft.com/office/drawing/2014/main" id="{8A1176D2-88B6-094B-81CA-D63F0670CF4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tx1">
                    <a:lumMod val="50000"/>
                  </a:schemeClr>
                </a:solidFill>
              </a:defRPr>
            </a:lvl1pPr>
          </a:lstStyle>
          <a:p>
            <a:fld id="{AD6BAA4E-5F47-E640-8B90-67FB6D90528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33CC72B8-84AE-214E-B9EE-C282A7FE6E54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397861" y="3769607"/>
            <a:ext cx="5555264" cy="393763"/>
          </a:xfrm>
          <a:prstGeom prst="rect">
            <a:avLst/>
          </a:prstGeom>
          <a:solidFill>
            <a:schemeClr val="tx2"/>
          </a:solidFill>
          <a:ln w="28575">
            <a:noFill/>
            <a:miter lim="800000"/>
          </a:ln>
          <a:effectLst/>
        </p:spPr>
        <p:txBody>
          <a:bodyPr anchor="ctr" anchorCtr="0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buFontTx/>
              <a:buNone/>
              <a:defRPr lang="en-US" sz="2133" b="1" i="0" kern="1200" dirty="0">
                <a:solidFill>
                  <a:schemeClr val="bg1"/>
                </a:solidFill>
                <a:latin typeface="+mj-lt"/>
                <a:ea typeface="Helvetica Neue Thin" panose="020B0403020202020204" pitchFamily="34" charset="0"/>
                <a:cs typeface="+mn-cs"/>
              </a:defRPr>
            </a:lvl1pPr>
          </a:lstStyle>
          <a:p>
            <a:pPr marL="0" lvl="0" indent="0" algn="l" defTabSz="609585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Tx/>
              <a:buNone/>
            </a:pPr>
            <a:r>
              <a:rPr lang="en-US"/>
              <a:t>Click to add text</a:t>
            </a:r>
          </a:p>
        </p:txBody>
      </p:sp>
      <p:sp>
        <p:nvSpPr>
          <p:cNvPr id="20" name="Text Placeholder 9">
            <a:extLst>
              <a:ext uri="{FF2B5EF4-FFF2-40B4-BE49-F238E27FC236}">
                <a16:creationId xmlns:a16="http://schemas.microsoft.com/office/drawing/2014/main" id="{48C428A9-BE00-F74F-B3A2-5CEE780A8225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397861" y="1570537"/>
            <a:ext cx="5555264" cy="393763"/>
          </a:xfrm>
          <a:prstGeom prst="rect">
            <a:avLst/>
          </a:prstGeom>
          <a:solidFill>
            <a:schemeClr val="accent1"/>
          </a:solidFill>
          <a:ln w="28575">
            <a:noFill/>
            <a:miter lim="800000"/>
          </a:ln>
          <a:effectLst/>
        </p:spPr>
        <p:txBody>
          <a:bodyPr anchor="ctr" anchorCtr="0"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FontTx/>
              <a:buNone/>
              <a:defRPr sz="2133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21" name="Text Placeholder 9">
            <a:extLst>
              <a:ext uri="{FF2B5EF4-FFF2-40B4-BE49-F238E27FC236}">
                <a16:creationId xmlns:a16="http://schemas.microsoft.com/office/drawing/2014/main" id="{7BE6D986-0160-5E4E-9956-DED0C86780E9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253341" y="1570537"/>
            <a:ext cx="5555264" cy="393763"/>
          </a:xfrm>
          <a:prstGeom prst="rect">
            <a:avLst/>
          </a:prstGeom>
          <a:solidFill>
            <a:schemeClr val="accent2"/>
          </a:solidFill>
          <a:ln w="28575">
            <a:noFill/>
            <a:miter lim="800000"/>
          </a:ln>
          <a:effectLst/>
        </p:spPr>
        <p:txBody>
          <a:bodyPr anchor="ctr" anchorCtr="0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buFontTx/>
              <a:buNone/>
              <a:defRPr lang="en-US" sz="2133" b="1" i="0" kern="1200" dirty="0">
                <a:solidFill>
                  <a:schemeClr val="bg1"/>
                </a:solidFill>
                <a:latin typeface="+mj-lt"/>
                <a:ea typeface="Helvetica Neue Thin" panose="020B0403020202020204" pitchFamily="34" charset="0"/>
                <a:cs typeface="+mn-cs"/>
              </a:defRPr>
            </a:lvl1pPr>
          </a:lstStyle>
          <a:p>
            <a:pPr marL="0" lvl="0" indent="0" algn="l" defTabSz="609585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Tx/>
              <a:buNone/>
            </a:pPr>
            <a:r>
              <a:rPr lang="en-US"/>
              <a:t>Click to add text</a:t>
            </a:r>
          </a:p>
        </p:txBody>
      </p:sp>
      <p:sp>
        <p:nvSpPr>
          <p:cNvPr id="22" name="Text Placeholder 9">
            <a:extLst>
              <a:ext uri="{FF2B5EF4-FFF2-40B4-BE49-F238E27FC236}">
                <a16:creationId xmlns:a16="http://schemas.microsoft.com/office/drawing/2014/main" id="{ABF39A7E-A4FE-3D47-999E-957595C8F2F4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6253341" y="3799650"/>
            <a:ext cx="5555264" cy="393763"/>
          </a:xfrm>
          <a:prstGeom prst="rect">
            <a:avLst/>
          </a:prstGeom>
          <a:solidFill>
            <a:schemeClr val="bg2"/>
          </a:solidFill>
          <a:ln w="28575">
            <a:noFill/>
            <a:miter lim="800000"/>
          </a:ln>
          <a:effectLst/>
        </p:spPr>
        <p:txBody>
          <a:bodyPr anchor="ctr" anchorCtr="0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buFontTx/>
              <a:buNone/>
              <a:defRPr lang="en-US" sz="2133" b="1" i="0" kern="1200" dirty="0">
                <a:solidFill>
                  <a:schemeClr val="bg1"/>
                </a:solidFill>
                <a:latin typeface="+mj-lt"/>
                <a:ea typeface="Helvetica Neue Thin" panose="020B0403020202020204" pitchFamily="34" charset="0"/>
                <a:cs typeface="+mn-cs"/>
              </a:defRPr>
            </a:lvl1pPr>
          </a:lstStyle>
          <a:p>
            <a:pPr marL="0" lvl="0" indent="0" algn="l" defTabSz="609585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Tx/>
              <a:buNone/>
            </a:pPr>
            <a:r>
              <a:rPr lang="en-US"/>
              <a:t>Click to add text</a:t>
            </a:r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2E1096A6-7B7F-CC45-BB01-0D1472ABB94F}"/>
              </a:ext>
            </a:extLst>
          </p:cNvPr>
          <p:cNvSpPr>
            <a:spLocks noGrp="1"/>
          </p:cNvSpPr>
          <p:nvPr>
            <p:ph idx="46" hasCustomPrompt="1"/>
          </p:nvPr>
        </p:nvSpPr>
        <p:spPr>
          <a:xfrm>
            <a:off x="6253341" y="2014803"/>
            <a:ext cx="5555264" cy="1559711"/>
          </a:xfrm>
          <a:prstGeom prst="rect">
            <a:avLst/>
          </a:prstGeom>
        </p:spPr>
        <p:txBody>
          <a:bodyPr>
            <a:normAutofit/>
          </a:bodyPr>
          <a:lstStyle>
            <a:lvl1pPr marL="228594" indent="-228594">
              <a:spcBef>
                <a:spcPts val="1333"/>
              </a:spcBef>
              <a:defRPr sz="2133">
                <a:solidFill>
                  <a:schemeClr val="tx1"/>
                </a:solidFill>
              </a:defRPr>
            </a:lvl1pPr>
            <a:lvl2pPr marL="457189" indent="-152396" algn="l" defTabSz="609585" rtl="0" eaLnBrk="1" latinLnBrk="0" hangingPunct="1">
              <a:lnSpc>
                <a:spcPct val="100000"/>
              </a:lnSpc>
              <a:spcBef>
                <a:spcPts val="667"/>
              </a:spcBef>
              <a:spcAft>
                <a:spcPts val="0"/>
              </a:spcAft>
              <a:buClr>
                <a:schemeClr val="accent1"/>
              </a:buClr>
              <a:buSzPct val="90000"/>
              <a:tabLst/>
              <a:defRPr lang="en-US" sz="1867" b="0" i="0" kern="1200" baseline="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2pPr>
            <a:lvl3pPr marL="687900" indent="-154513" algn="l" defTabSz="609585" rtl="0" eaLnBrk="1" latinLnBrk="0" hangingPunct="1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Clr>
                <a:schemeClr val="accent1"/>
              </a:buClr>
              <a:buSzPct val="90000"/>
              <a:tabLst/>
              <a:defRPr lang="en-US" sz="1867" b="0" i="0" kern="1200" baseline="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3pPr>
            <a:lvl4pPr marL="918610" indent="-156629">
              <a:spcBef>
                <a:spcPts val="267"/>
              </a:spcBef>
              <a:defRPr sz="1467"/>
            </a:lvl4pPr>
            <a:lvl5pPr marL="1138738" indent="-146047">
              <a:spcBef>
                <a:spcPts val="267"/>
              </a:spcBef>
              <a:defRPr sz="1400"/>
            </a:lvl5pPr>
          </a:lstStyle>
          <a:p>
            <a:pPr lvl="0"/>
            <a:r>
              <a:rPr lang="en-US"/>
              <a:t>Click to add text or click icon to add content</a:t>
            </a:r>
          </a:p>
          <a:p>
            <a:pPr lvl="1"/>
            <a:r>
              <a:rPr lang="en-US"/>
              <a:t> First level bullet</a:t>
            </a:r>
          </a:p>
          <a:p>
            <a:pPr lvl="2"/>
            <a:r>
              <a:rPr lang="en-US"/>
              <a:t>Second level bullet</a:t>
            </a:r>
          </a:p>
        </p:txBody>
      </p:sp>
      <p:sp>
        <p:nvSpPr>
          <p:cNvPr id="24" name="Content Placeholder 2">
            <a:extLst>
              <a:ext uri="{FF2B5EF4-FFF2-40B4-BE49-F238E27FC236}">
                <a16:creationId xmlns:a16="http://schemas.microsoft.com/office/drawing/2014/main" id="{DC5E7087-7D98-0549-ADB8-606CF45E37DA}"/>
              </a:ext>
            </a:extLst>
          </p:cNvPr>
          <p:cNvSpPr>
            <a:spLocks noGrp="1"/>
          </p:cNvSpPr>
          <p:nvPr>
            <p:ph idx="47" hasCustomPrompt="1"/>
          </p:nvPr>
        </p:nvSpPr>
        <p:spPr>
          <a:xfrm>
            <a:off x="397861" y="4221458"/>
            <a:ext cx="5555264" cy="1654409"/>
          </a:xfrm>
          <a:prstGeom prst="rect">
            <a:avLst/>
          </a:prstGeom>
        </p:spPr>
        <p:txBody>
          <a:bodyPr/>
          <a:lstStyle>
            <a:lvl1pPr marL="228594" indent="-228594">
              <a:spcBef>
                <a:spcPts val="1333"/>
              </a:spcBef>
              <a:defRPr sz="2133">
                <a:solidFill>
                  <a:schemeClr val="tx1"/>
                </a:solidFill>
              </a:defRPr>
            </a:lvl1pPr>
            <a:lvl2pPr marL="457189" indent="-152396" algn="l" defTabSz="609585" rtl="0" eaLnBrk="1" latinLnBrk="0" hangingPunct="1">
              <a:lnSpc>
                <a:spcPct val="100000"/>
              </a:lnSpc>
              <a:spcBef>
                <a:spcPts val="667"/>
              </a:spcBef>
              <a:spcAft>
                <a:spcPts val="0"/>
              </a:spcAft>
              <a:buClr>
                <a:schemeClr val="accent1"/>
              </a:buClr>
              <a:buSzPct val="90000"/>
              <a:tabLst/>
              <a:defRPr lang="en-US" sz="1867" b="0" i="0" kern="1200" baseline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2pPr>
            <a:lvl3pPr marL="687900" indent="-154513" algn="l" defTabSz="609585" rtl="0" eaLnBrk="1" latinLnBrk="0" hangingPunct="1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Clr>
                <a:schemeClr val="accent1"/>
              </a:buClr>
              <a:buSzPct val="90000"/>
              <a:tabLst/>
              <a:defRPr lang="en-US" sz="1867" b="0" i="0" kern="1200" baseline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3pPr>
            <a:lvl4pPr marL="918610" indent="-156629">
              <a:spcBef>
                <a:spcPts val="267"/>
              </a:spcBef>
              <a:defRPr sz="1467"/>
            </a:lvl4pPr>
            <a:lvl5pPr marL="1138738" indent="-146047">
              <a:spcBef>
                <a:spcPts val="267"/>
              </a:spcBef>
              <a:defRPr sz="1400"/>
            </a:lvl5pPr>
          </a:lstStyle>
          <a:p>
            <a:pPr lvl="0"/>
            <a:r>
              <a:rPr lang="en-US"/>
              <a:t>Click to add text or click icon to add content</a:t>
            </a:r>
          </a:p>
          <a:p>
            <a:pPr lvl="1"/>
            <a:r>
              <a:rPr lang="en-US"/>
              <a:t> First level bullet</a:t>
            </a:r>
          </a:p>
          <a:p>
            <a:pPr lvl="2"/>
            <a:r>
              <a:rPr lang="en-US"/>
              <a:t>Second level bullet</a:t>
            </a:r>
          </a:p>
        </p:txBody>
      </p:sp>
      <p:sp>
        <p:nvSpPr>
          <p:cNvPr id="25" name="Content Placeholder 2">
            <a:extLst>
              <a:ext uri="{FF2B5EF4-FFF2-40B4-BE49-F238E27FC236}">
                <a16:creationId xmlns:a16="http://schemas.microsoft.com/office/drawing/2014/main" id="{C31FE7ED-35EB-3040-82F4-5F3418FBB5DE}"/>
              </a:ext>
            </a:extLst>
          </p:cNvPr>
          <p:cNvSpPr>
            <a:spLocks noGrp="1"/>
          </p:cNvSpPr>
          <p:nvPr>
            <p:ph idx="48" hasCustomPrompt="1"/>
          </p:nvPr>
        </p:nvSpPr>
        <p:spPr>
          <a:xfrm>
            <a:off x="6253341" y="4221458"/>
            <a:ext cx="5555264" cy="1654409"/>
          </a:xfrm>
          <a:prstGeom prst="rect">
            <a:avLst/>
          </a:prstGeom>
        </p:spPr>
        <p:txBody>
          <a:bodyPr/>
          <a:lstStyle>
            <a:lvl1pPr marL="228594" indent="-228594">
              <a:spcBef>
                <a:spcPts val="1333"/>
              </a:spcBef>
              <a:defRPr sz="2133">
                <a:solidFill>
                  <a:schemeClr val="tx1"/>
                </a:solidFill>
              </a:defRPr>
            </a:lvl1pPr>
            <a:lvl2pPr marL="457189" indent="-152396" algn="l" defTabSz="609585" rtl="0" eaLnBrk="1" latinLnBrk="0" hangingPunct="1">
              <a:lnSpc>
                <a:spcPct val="100000"/>
              </a:lnSpc>
              <a:spcBef>
                <a:spcPts val="667"/>
              </a:spcBef>
              <a:spcAft>
                <a:spcPts val="0"/>
              </a:spcAft>
              <a:buClr>
                <a:schemeClr val="accent1"/>
              </a:buClr>
              <a:buSzPct val="90000"/>
              <a:tabLst/>
              <a:defRPr lang="en-US" sz="1867" b="0" i="0" kern="1200" baseline="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2pPr>
            <a:lvl3pPr marL="687900" indent="-154513" algn="l" defTabSz="609585" rtl="0" eaLnBrk="1" latinLnBrk="0" hangingPunct="1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Clr>
                <a:schemeClr val="accent1"/>
              </a:buClr>
              <a:buSzPct val="90000"/>
              <a:tabLst/>
              <a:defRPr lang="en-US" sz="1867" b="0" i="0" kern="1200" baseline="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3pPr>
            <a:lvl4pPr marL="918610" indent="-156629">
              <a:spcBef>
                <a:spcPts val="267"/>
              </a:spcBef>
              <a:defRPr sz="1467"/>
            </a:lvl4pPr>
            <a:lvl5pPr marL="1138738" indent="-146047">
              <a:spcBef>
                <a:spcPts val="267"/>
              </a:spcBef>
              <a:defRPr sz="1400"/>
            </a:lvl5pPr>
          </a:lstStyle>
          <a:p>
            <a:pPr lvl="0"/>
            <a:r>
              <a:rPr lang="en-US"/>
              <a:t>Click to add text or click icon to add content</a:t>
            </a:r>
          </a:p>
          <a:p>
            <a:pPr lvl="1"/>
            <a:r>
              <a:rPr lang="en-US"/>
              <a:t> First level bullet</a:t>
            </a:r>
          </a:p>
          <a:p>
            <a:pPr lvl="2"/>
            <a:r>
              <a:rPr lang="en-US"/>
              <a:t>Second level bullet</a:t>
            </a:r>
          </a:p>
        </p:txBody>
      </p:sp>
      <p:sp>
        <p:nvSpPr>
          <p:cNvPr id="26" name="Content Placeholder 2">
            <a:extLst>
              <a:ext uri="{FF2B5EF4-FFF2-40B4-BE49-F238E27FC236}">
                <a16:creationId xmlns:a16="http://schemas.microsoft.com/office/drawing/2014/main" id="{FEFB6039-0016-EA42-BF43-39C0A346F789}"/>
              </a:ext>
            </a:extLst>
          </p:cNvPr>
          <p:cNvSpPr>
            <a:spLocks noGrp="1"/>
          </p:cNvSpPr>
          <p:nvPr>
            <p:ph idx="50" hasCustomPrompt="1"/>
          </p:nvPr>
        </p:nvSpPr>
        <p:spPr>
          <a:xfrm>
            <a:off x="397861" y="2014802"/>
            <a:ext cx="5555264" cy="1559711"/>
          </a:xfrm>
          <a:prstGeom prst="rect">
            <a:avLst/>
          </a:prstGeom>
        </p:spPr>
        <p:txBody>
          <a:bodyPr>
            <a:normAutofit/>
          </a:bodyPr>
          <a:lstStyle>
            <a:lvl1pPr marL="228594" indent="-228594">
              <a:spcBef>
                <a:spcPts val="1333"/>
              </a:spcBef>
              <a:defRPr sz="2133">
                <a:solidFill>
                  <a:schemeClr val="tx1"/>
                </a:solidFill>
              </a:defRPr>
            </a:lvl1pPr>
            <a:lvl2pPr marL="457189" indent="-152396" algn="l" defTabSz="609585" rtl="0" eaLnBrk="1" latinLnBrk="0" hangingPunct="1">
              <a:lnSpc>
                <a:spcPct val="100000"/>
              </a:lnSpc>
              <a:spcBef>
                <a:spcPts val="667"/>
              </a:spcBef>
              <a:spcAft>
                <a:spcPts val="0"/>
              </a:spcAft>
              <a:buClr>
                <a:schemeClr val="accent1"/>
              </a:buClr>
              <a:buSzPct val="90000"/>
              <a:tabLst/>
              <a:defRPr lang="en-US" sz="1867" b="0" i="0" kern="1200" baseline="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2pPr>
            <a:lvl3pPr marL="687900" indent="-154513" algn="l" defTabSz="609585" rtl="0" eaLnBrk="1" latinLnBrk="0" hangingPunct="1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Clr>
                <a:schemeClr val="accent1"/>
              </a:buClr>
              <a:buSzPct val="90000"/>
              <a:tabLst/>
              <a:defRPr lang="en-US" sz="1867" b="0" i="0" kern="1200" baseline="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3pPr>
            <a:lvl4pPr marL="918610" indent="-156629">
              <a:spcBef>
                <a:spcPts val="267"/>
              </a:spcBef>
              <a:defRPr sz="1467"/>
            </a:lvl4pPr>
            <a:lvl5pPr marL="1138738" indent="-146047">
              <a:spcBef>
                <a:spcPts val="267"/>
              </a:spcBef>
              <a:defRPr sz="1400"/>
            </a:lvl5pPr>
          </a:lstStyle>
          <a:p>
            <a:pPr lvl="0"/>
            <a:r>
              <a:rPr lang="en-US"/>
              <a:t>Click to add text or click icon to add content</a:t>
            </a:r>
          </a:p>
          <a:p>
            <a:pPr lvl="1"/>
            <a:r>
              <a:rPr lang="en-US"/>
              <a:t> First level bullet</a:t>
            </a:r>
          </a:p>
          <a:p>
            <a:pPr lvl="2"/>
            <a:r>
              <a:rPr lang="en-US"/>
              <a:t>Second level bullet</a:t>
            </a:r>
          </a:p>
        </p:txBody>
      </p:sp>
    </p:spTree>
    <p:extLst>
      <p:ext uri="{BB962C8B-B14F-4D97-AF65-F5344CB8AC3E}">
        <p14:creationId xmlns:p14="http://schemas.microsoft.com/office/powerpoint/2010/main" val="1964606943"/>
      </p:ext>
    </p:extLst>
  </p:cSld>
  <p:clrMapOvr>
    <a:masterClrMapping/>
  </p:clrMapOvr>
  <p:transition>
    <p:fade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FOUR COLUMN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CBFDDF4-0565-424E-AFE7-6000EF98D79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anchor="t"/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EE0AA4A-BDF6-5B4A-84AE-EDC943B6DD6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83395" y="889001"/>
            <a:ext cx="11425211" cy="452967"/>
          </a:xfrm>
          <a:prstGeom prst="rect">
            <a:avLst/>
          </a:prstGeom>
        </p:spPr>
        <p:txBody>
          <a:bodyPr anchor="b">
            <a:noAutofit/>
          </a:bodyPr>
          <a:lstStyle>
            <a:lvl1pPr>
              <a:defRPr lang="en-US" sz="2400" b="0" i="0" kern="1200" dirty="0">
                <a:solidFill>
                  <a:schemeClr val="accent2"/>
                </a:solidFill>
                <a:latin typeface="+mj-lt"/>
                <a:ea typeface="Helvetica Neue Thin" panose="020B0403020202020204" pitchFamily="34" charset="0"/>
                <a:cs typeface="+mn-cs"/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18" name="Slide Number Placeholder 2">
            <a:extLst>
              <a:ext uri="{FF2B5EF4-FFF2-40B4-BE49-F238E27FC236}">
                <a16:creationId xmlns:a16="http://schemas.microsoft.com/office/drawing/2014/main" id="{139AD24E-8A5F-744E-8337-1E3D6BCFB0A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tx1">
                    <a:lumMod val="50000"/>
                  </a:schemeClr>
                </a:solidFill>
              </a:defRPr>
            </a:lvl1pPr>
          </a:lstStyle>
          <a:p>
            <a:fld id="{AD6BAA4E-5F47-E640-8B90-67FB6D90528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id="{F6768D45-56DF-BB47-91B7-0E857840C85B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9116568" y="1433576"/>
            <a:ext cx="2694432" cy="4535424"/>
          </a:xfrm>
          <a:prstGeom prst="rect">
            <a:avLst/>
          </a:prstGeom>
          <a:solidFill>
            <a:schemeClr val="accent2"/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2400" b="1">
                <a:solidFill>
                  <a:schemeClr val="bg1"/>
                </a:solidFill>
              </a:defRPr>
            </a:lvl1pPr>
            <a:lvl2pPr marL="0" indent="0">
              <a:buNone/>
              <a:defRPr>
                <a:solidFill>
                  <a:schemeClr val="bg1"/>
                </a:solidFill>
              </a:defRPr>
            </a:lvl2pPr>
            <a:lvl3pPr marL="311143" indent="0">
              <a:buNone/>
              <a:defRPr>
                <a:solidFill>
                  <a:schemeClr val="bg1"/>
                </a:solidFill>
              </a:defRPr>
            </a:lvl3pPr>
          </a:lstStyle>
          <a:p>
            <a:pPr lvl="0"/>
            <a:r>
              <a:rPr lang="en-US"/>
              <a:t>Click to add text</a:t>
            </a:r>
          </a:p>
          <a:p>
            <a:pPr lvl="0"/>
            <a:endParaRPr lang="en-US"/>
          </a:p>
        </p:txBody>
      </p:sp>
      <p:sp>
        <p:nvSpPr>
          <p:cNvPr id="20" name="Text Placeholder 4">
            <a:extLst>
              <a:ext uri="{FF2B5EF4-FFF2-40B4-BE49-F238E27FC236}">
                <a16:creationId xmlns:a16="http://schemas.microsoft.com/office/drawing/2014/main" id="{6DB4F6BF-8B3F-004D-9E4D-5144F0952E4C}"/>
              </a:ext>
            </a:extLst>
          </p:cNvPr>
          <p:cNvSpPr>
            <a:spLocks noGrp="1"/>
          </p:cNvSpPr>
          <p:nvPr>
            <p:ph type="body" sz="quarter" idx="49"/>
          </p:nvPr>
        </p:nvSpPr>
        <p:spPr>
          <a:xfrm>
            <a:off x="9108437" y="1900358"/>
            <a:ext cx="2702563" cy="4062841"/>
          </a:xfrm>
          <a:prstGeom prst="rect">
            <a:avLst/>
          </a:prstGeom>
        </p:spPr>
        <p:txBody>
          <a:bodyPr/>
          <a:lstStyle>
            <a:lvl1pPr marL="228594" indent="-228594">
              <a:buClr>
                <a:schemeClr val="bg1"/>
              </a:buClr>
              <a:buFont typeface="Arial" panose="020B0604020202020204" pitchFamily="34" charset="0"/>
              <a:buChar char="•"/>
              <a:defRPr sz="1867">
                <a:solidFill>
                  <a:schemeClr val="bg1"/>
                </a:solidFill>
              </a:defRPr>
            </a:lvl1pPr>
            <a:lvl2pPr>
              <a:defRPr sz="1467"/>
            </a:lvl2pPr>
            <a:lvl3pPr>
              <a:defRPr sz="1400"/>
            </a:lvl3pPr>
            <a:lvl4pPr>
              <a:defRPr sz="1333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ext Placeholder 7">
            <a:extLst>
              <a:ext uri="{FF2B5EF4-FFF2-40B4-BE49-F238E27FC236}">
                <a16:creationId xmlns:a16="http://schemas.microsoft.com/office/drawing/2014/main" id="{D445E2FB-A91A-9C4B-BE77-805D2C1E0315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6223187" y="1433576"/>
            <a:ext cx="2694432" cy="4535424"/>
          </a:xfrm>
          <a:prstGeom prst="rect">
            <a:avLst/>
          </a:prstGeom>
          <a:solidFill>
            <a:schemeClr val="accent1"/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2400" b="1">
                <a:solidFill>
                  <a:schemeClr val="bg1"/>
                </a:solidFill>
              </a:defRPr>
            </a:lvl1pPr>
            <a:lvl2pPr marL="0" indent="0">
              <a:buNone/>
              <a:defRPr>
                <a:solidFill>
                  <a:schemeClr val="bg1"/>
                </a:solidFill>
              </a:defRPr>
            </a:lvl2pPr>
            <a:lvl3pPr marL="311143" indent="0">
              <a:buNone/>
              <a:defRPr>
                <a:solidFill>
                  <a:schemeClr val="bg1"/>
                </a:solidFill>
              </a:defRPr>
            </a:lvl3pPr>
          </a:lstStyle>
          <a:p>
            <a:pPr lvl="0"/>
            <a:r>
              <a:rPr lang="en-US"/>
              <a:t>Click to add text</a:t>
            </a:r>
          </a:p>
          <a:p>
            <a:pPr lvl="0"/>
            <a:endParaRPr lang="en-US"/>
          </a:p>
        </p:txBody>
      </p:sp>
      <p:sp>
        <p:nvSpPr>
          <p:cNvPr id="22" name="Text Placeholder 4">
            <a:extLst>
              <a:ext uri="{FF2B5EF4-FFF2-40B4-BE49-F238E27FC236}">
                <a16:creationId xmlns:a16="http://schemas.microsoft.com/office/drawing/2014/main" id="{0EA6D7EC-DAA2-0840-AB2A-4625EE8AEA40}"/>
              </a:ext>
            </a:extLst>
          </p:cNvPr>
          <p:cNvSpPr>
            <a:spLocks noGrp="1"/>
          </p:cNvSpPr>
          <p:nvPr>
            <p:ph type="body" sz="quarter" idx="48"/>
          </p:nvPr>
        </p:nvSpPr>
        <p:spPr>
          <a:xfrm>
            <a:off x="6215056" y="1900358"/>
            <a:ext cx="2702563" cy="4062841"/>
          </a:xfrm>
          <a:prstGeom prst="rect">
            <a:avLst/>
          </a:prstGeom>
        </p:spPr>
        <p:txBody>
          <a:bodyPr/>
          <a:lstStyle>
            <a:lvl1pPr marL="228594" indent="-228594">
              <a:buClr>
                <a:schemeClr val="bg1"/>
              </a:buClr>
              <a:buFont typeface="Arial" panose="020B0604020202020204" pitchFamily="34" charset="0"/>
              <a:buChar char="•"/>
              <a:defRPr sz="1867">
                <a:solidFill>
                  <a:schemeClr val="bg1"/>
                </a:solidFill>
              </a:defRPr>
            </a:lvl1pPr>
            <a:lvl2pPr>
              <a:defRPr sz="1467"/>
            </a:lvl2pPr>
            <a:lvl3pPr>
              <a:defRPr sz="1400"/>
            </a:lvl3pPr>
            <a:lvl4pPr>
              <a:defRPr sz="1333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Text Placeholder 7">
            <a:extLst>
              <a:ext uri="{FF2B5EF4-FFF2-40B4-BE49-F238E27FC236}">
                <a16:creationId xmlns:a16="http://schemas.microsoft.com/office/drawing/2014/main" id="{EDAD5809-6115-5B4B-A532-F9439D78AFDD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363731" y="1433576"/>
            <a:ext cx="2694432" cy="4535424"/>
          </a:xfrm>
          <a:prstGeom prst="rect">
            <a:avLst/>
          </a:prstGeom>
          <a:solidFill>
            <a:schemeClr val="bg2"/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2400" b="1">
                <a:solidFill>
                  <a:schemeClr val="bg1"/>
                </a:solidFill>
              </a:defRPr>
            </a:lvl1pPr>
            <a:lvl2pPr marL="0" indent="0">
              <a:buNone/>
              <a:defRPr>
                <a:solidFill>
                  <a:schemeClr val="bg1"/>
                </a:solidFill>
              </a:defRPr>
            </a:lvl2pPr>
            <a:lvl3pPr marL="311143" indent="0">
              <a:buNone/>
              <a:defRPr>
                <a:solidFill>
                  <a:schemeClr val="bg1"/>
                </a:solidFill>
              </a:defRPr>
            </a:lvl3pPr>
          </a:lstStyle>
          <a:p>
            <a:pPr lvl="0"/>
            <a:r>
              <a:rPr lang="en-US"/>
              <a:t>Click to add text</a:t>
            </a:r>
          </a:p>
          <a:p>
            <a:pPr lvl="0"/>
            <a:endParaRPr lang="en-US"/>
          </a:p>
        </p:txBody>
      </p:sp>
      <p:sp>
        <p:nvSpPr>
          <p:cNvPr id="24" name="Text Placeholder 4">
            <a:extLst>
              <a:ext uri="{FF2B5EF4-FFF2-40B4-BE49-F238E27FC236}">
                <a16:creationId xmlns:a16="http://schemas.microsoft.com/office/drawing/2014/main" id="{11D28ED0-DD0C-C547-8B5C-5EF68A68E82B}"/>
              </a:ext>
            </a:extLst>
          </p:cNvPr>
          <p:cNvSpPr>
            <a:spLocks noGrp="1"/>
          </p:cNvSpPr>
          <p:nvPr>
            <p:ph type="body" sz="quarter" idx="46"/>
          </p:nvPr>
        </p:nvSpPr>
        <p:spPr>
          <a:xfrm>
            <a:off x="355600" y="1900358"/>
            <a:ext cx="2702563" cy="4062841"/>
          </a:xfrm>
          <a:prstGeom prst="rect">
            <a:avLst/>
          </a:prstGeom>
          <a:solidFill>
            <a:schemeClr val="bg2"/>
          </a:solidFill>
        </p:spPr>
        <p:txBody>
          <a:bodyPr/>
          <a:lstStyle>
            <a:lvl1pPr marL="228594" indent="-228594">
              <a:buClr>
                <a:schemeClr val="bg1"/>
              </a:buClr>
              <a:buFont typeface="Arial" panose="020B0604020202020204" pitchFamily="34" charset="0"/>
              <a:buChar char="•"/>
              <a:defRPr sz="1867">
                <a:solidFill>
                  <a:schemeClr val="bg1"/>
                </a:solidFill>
              </a:defRPr>
            </a:lvl1pPr>
            <a:lvl2pPr>
              <a:defRPr sz="1467"/>
            </a:lvl2pPr>
            <a:lvl3pPr>
              <a:defRPr sz="1400"/>
            </a:lvl3pPr>
            <a:lvl4pPr>
              <a:defRPr sz="1333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8724E066-98CC-F34D-94FC-898CCFDBFED9}"/>
              </a:ext>
            </a:extLst>
          </p:cNvPr>
          <p:cNvSpPr/>
          <p:nvPr/>
        </p:nvSpPr>
        <p:spPr>
          <a:xfrm>
            <a:off x="3281344" y="1429670"/>
            <a:ext cx="2697865" cy="4533529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26" name="Text Placeholder 7">
            <a:extLst>
              <a:ext uri="{FF2B5EF4-FFF2-40B4-BE49-F238E27FC236}">
                <a16:creationId xmlns:a16="http://schemas.microsoft.com/office/drawing/2014/main" id="{3E2E2F4F-6736-8C44-9545-F0F66BDB9DBA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3281343" y="1433576"/>
            <a:ext cx="2694432" cy="4535424"/>
          </a:xfrm>
          <a:prstGeom prst="rect">
            <a:avLst/>
          </a:prstGeo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2400" b="1">
                <a:solidFill>
                  <a:schemeClr val="bg1"/>
                </a:solidFill>
              </a:defRPr>
            </a:lvl1pPr>
            <a:lvl2pPr marL="0" indent="0">
              <a:buNone/>
              <a:defRPr>
                <a:solidFill>
                  <a:schemeClr val="bg1"/>
                </a:solidFill>
              </a:defRPr>
            </a:lvl2pPr>
            <a:lvl3pPr marL="311143" indent="0">
              <a:buNone/>
              <a:defRPr>
                <a:solidFill>
                  <a:schemeClr val="bg1"/>
                </a:solidFill>
              </a:defRPr>
            </a:lvl3pPr>
          </a:lstStyle>
          <a:p>
            <a:pPr lvl="0"/>
            <a:r>
              <a:rPr lang="en-US"/>
              <a:t>Click to add text</a:t>
            </a:r>
          </a:p>
          <a:p>
            <a:pPr lvl="0"/>
            <a:endParaRPr lang="en-US"/>
          </a:p>
        </p:txBody>
      </p:sp>
      <p:sp>
        <p:nvSpPr>
          <p:cNvPr id="27" name="Text Placeholder 4">
            <a:extLst>
              <a:ext uri="{FF2B5EF4-FFF2-40B4-BE49-F238E27FC236}">
                <a16:creationId xmlns:a16="http://schemas.microsoft.com/office/drawing/2014/main" id="{79E4B831-0946-EB49-B790-6D3A380275CF}"/>
              </a:ext>
            </a:extLst>
          </p:cNvPr>
          <p:cNvSpPr>
            <a:spLocks noGrp="1"/>
          </p:cNvSpPr>
          <p:nvPr>
            <p:ph type="body" sz="quarter" idx="47"/>
          </p:nvPr>
        </p:nvSpPr>
        <p:spPr>
          <a:xfrm>
            <a:off x="3281343" y="1900358"/>
            <a:ext cx="2702563" cy="4062841"/>
          </a:xfrm>
          <a:prstGeom prst="rect">
            <a:avLst/>
          </a:prstGeom>
        </p:spPr>
        <p:txBody>
          <a:bodyPr/>
          <a:lstStyle>
            <a:lvl1pPr marL="228594" indent="-228594">
              <a:buClr>
                <a:schemeClr val="bg1"/>
              </a:buClr>
              <a:buFont typeface="Arial" panose="020B0604020202020204" pitchFamily="34" charset="0"/>
              <a:buChar char="•"/>
              <a:defRPr sz="1867">
                <a:solidFill>
                  <a:schemeClr val="bg1"/>
                </a:solidFill>
              </a:defRPr>
            </a:lvl1pPr>
            <a:lvl2pPr>
              <a:defRPr sz="1467"/>
            </a:lvl2pPr>
            <a:lvl3pPr>
              <a:defRPr sz="1400"/>
            </a:lvl3pPr>
            <a:lvl4pPr>
              <a:defRPr sz="1333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96423643"/>
      </p:ext>
    </p:extLst>
  </p:cSld>
  <p:clrMapOvr>
    <a:masterClrMapping/>
  </p:clrMapOvr>
  <p:transition>
    <p:fade/>
  </p:transition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CONTENT WITH IMAG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/>
        <p:txBody>
          <a:bodyPr anchor="t"/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20" name="Slide Number Placeholder 2">
            <a:extLst>
              <a:ext uri="{FF2B5EF4-FFF2-40B4-BE49-F238E27FC236}">
                <a16:creationId xmlns:a16="http://schemas.microsoft.com/office/drawing/2014/main" id="{8D89EC0F-276B-854A-9C14-F34A2FB2352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lang="en-US" smtClean="0"/>
            </a:lvl1pPr>
          </a:lstStyle>
          <a:p>
            <a:fld id="{AD6BAA4E-5F47-E640-8B90-67FB6D90528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1" name="Text Placeholder 29">
            <a:extLst>
              <a:ext uri="{FF2B5EF4-FFF2-40B4-BE49-F238E27FC236}">
                <a16:creationId xmlns:a16="http://schemas.microsoft.com/office/drawing/2014/main" id="{828A2A84-94E7-7845-B110-8349D093BDD7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233975" y="4914486"/>
            <a:ext cx="2828544" cy="538193"/>
          </a:xfrm>
          <a:prstGeom prst="rect">
            <a:avLst/>
          </a:prstGeom>
          <a:noFill/>
        </p:spPr>
        <p:txBody>
          <a:bodyPr anchor="ctr">
            <a:normAutofit/>
          </a:bodyPr>
          <a:lstStyle>
            <a:lvl1pPr algn="ctr">
              <a:spcBef>
                <a:spcPts val="0"/>
              </a:spcBef>
              <a:defRPr sz="2133" b="1">
                <a:solidFill>
                  <a:schemeClr val="accent4"/>
                </a:solidFill>
                <a:latin typeface="+mj-lt"/>
              </a:defRPr>
            </a:lvl1pPr>
            <a:lvl2pPr>
              <a:spcBef>
                <a:spcPts val="800"/>
              </a:spcBef>
              <a:defRPr sz="1600"/>
            </a:lvl2pPr>
            <a:lvl3pPr>
              <a:defRPr sz="1467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62" name="Text Placeholder 29">
            <a:extLst>
              <a:ext uri="{FF2B5EF4-FFF2-40B4-BE49-F238E27FC236}">
                <a16:creationId xmlns:a16="http://schemas.microsoft.com/office/drawing/2014/main" id="{2C19F6E4-8F57-FF4D-B18E-D91CB94422A7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112349" y="4914486"/>
            <a:ext cx="2828544" cy="538193"/>
          </a:xfrm>
          <a:prstGeom prst="rect">
            <a:avLst/>
          </a:prstGeom>
          <a:noFill/>
        </p:spPr>
        <p:txBody>
          <a:bodyPr anchor="ctr">
            <a:normAutofit/>
          </a:bodyPr>
          <a:lstStyle>
            <a:lvl1pPr algn="ctr">
              <a:spcBef>
                <a:spcPts val="0"/>
              </a:spcBef>
              <a:defRPr sz="2133" b="1">
                <a:solidFill>
                  <a:schemeClr val="accent2"/>
                </a:solidFill>
                <a:latin typeface="+mj-lt"/>
              </a:defRPr>
            </a:lvl1pPr>
            <a:lvl2pPr>
              <a:spcBef>
                <a:spcPts val="800"/>
              </a:spcBef>
              <a:defRPr sz="1600"/>
            </a:lvl2pPr>
            <a:lvl3pPr>
              <a:defRPr sz="1467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63" name="Text Placeholder 29">
            <a:extLst>
              <a:ext uri="{FF2B5EF4-FFF2-40B4-BE49-F238E27FC236}">
                <a16:creationId xmlns:a16="http://schemas.microsoft.com/office/drawing/2014/main" id="{B1DBDCAD-67BE-6940-AAB4-8C10C6B4F0D3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55600" y="4914486"/>
            <a:ext cx="2828544" cy="538193"/>
          </a:xfrm>
          <a:prstGeom prst="rect">
            <a:avLst/>
          </a:prstGeom>
          <a:noFill/>
        </p:spPr>
        <p:txBody>
          <a:bodyPr anchor="ctr">
            <a:normAutofit/>
          </a:bodyPr>
          <a:lstStyle>
            <a:lvl1pPr algn="ctr">
              <a:spcBef>
                <a:spcPts val="0"/>
              </a:spcBef>
              <a:defRPr sz="2133" b="1">
                <a:solidFill>
                  <a:schemeClr val="accent1"/>
                </a:solidFill>
                <a:latin typeface="+mj-lt"/>
              </a:defRPr>
            </a:lvl1pPr>
            <a:lvl2pPr>
              <a:spcBef>
                <a:spcPts val="800"/>
              </a:spcBef>
              <a:defRPr sz="1600"/>
            </a:lvl2pPr>
            <a:lvl3pPr>
              <a:defRPr sz="1467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64" name="Text Placeholder 29">
            <a:extLst>
              <a:ext uri="{FF2B5EF4-FFF2-40B4-BE49-F238E27FC236}">
                <a16:creationId xmlns:a16="http://schemas.microsoft.com/office/drawing/2014/main" id="{F408EA38-4DCC-D547-9442-D8700F50FAE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990725" y="4914486"/>
            <a:ext cx="2828544" cy="538193"/>
          </a:xfrm>
          <a:prstGeom prst="rect">
            <a:avLst/>
          </a:prstGeom>
          <a:noFill/>
        </p:spPr>
        <p:txBody>
          <a:bodyPr anchor="ctr">
            <a:normAutofit/>
          </a:bodyPr>
          <a:lstStyle>
            <a:lvl1pPr algn="ctr">
              <a:spcBef>
                <a:spcPts val="0"/>
              </a:spcBef>
              <a:defRPr sz="2133" b="1">
                <a:solidFill>
                  <a:schemeClr val="bg2"/>
                </a:solidFill>
                <a:latin typeface="+mj-lt"/>
              </a:defRPr>
            </a:lvl1pPr>
            <a:lvl2pPr>
              <a:spcBef>
                <a:spcPts val="800"/>
              </a:spcBef>
              <a:defRPr sz="1600"/>
            </a:lvl2pPr>
            <a:lvl3pPr>
              <a:defRPr sz="1467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/>
              <a:t>Click to add text</a:t>
            </a:r>
          </a:p>
        </p:txBody>
      </p:sp>
      <p:pic>
        <p:nvPicPr>
          <p:cNvPr id="76" name="Picture Placeholder 39">
            <a:extLst>
              <a:ext uri="{FF2B5EF4-FFF2-40B4-BE49-F238E27FC236}">
                <a16:creationId xmlns:a16="http://schemas.microsoft.com/office/drawing/2014/main" id="{19E5228E-EBF7-D744-930A-19193DF24A33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705" t="704" b="1"/>
          <a:stretch/>
        </p:blipFill>
        <p:spPr>
          <a:xfrm>
            <a:off x="9684112" y="1522363"/>
            <a:ext cx="2135157" cy="3384620"/>
          </a:xfrm>
          <a:prstGeom prst="rect">
            <a:avLst/>
          </a:prstGeom>
        </p:spPr>
      </p:pic>
      <p:pic>
        <p:nvPicPr>
          <p:cNvPr id="77" name="Picture 76">
            <a:extLst>
              <a:ext uri="{FF2B5EF4-FFF2-40B4-BE49-F238E27FC236}">
                <a16:creationId xmlns:a16="http://schemas.microsoft.com/office/drawing/2014/main" id="{B8AC1CAE-5521-794B-AA4D-308ED82B040C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5251" t="914" r="66340" b="567"/>
          <a:stretch/>
        </p:blipFill>
        <p:spPr>
          <a:xfrm>
            <a:off x="8990726" y="1524935"/>
            <a:ext cx="1122868" cy="3378312"/>
          </a:xfrm>
          <a:prstGeom prst="rect">
            <a:avLst/>
          </a:prstGeom>
        </p:spPr>
      </p:pic>
      <p:pic>
        <p:nvPicPr>
          <p:cNvPr id="78" name="Picture 77">
            <a:extLst>
              <a:ext uri="{FF2B5EF4-FFF2-40B4-BE49-F238E27FC236}">
                <a16:creationId xmlns:a16="http://schemas.microsoft.com/office/drawing/2014/main" id="{941F3DF0-308D-EB41-BB03-69D6E697FC7F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/>
          <a:stretch/>
        </p:blipFill>
        <p:spPr>
          <a:xfrm>
            <a:off x="3919281" y="1522697"/>
            <a:ext cx="2143239" cy="3389903"/>
          </a:xfrm>
          <a:prstGeom prst="rect">
            <a:avLst/>
          </a:prstGeom>
        </p:spPr>
      </p:pic>
      <p:pic>
        <p:nvPicPr>
          <p:cNvPr id="79" name="Picture 78" descr="A picture containing grass, outdoor, water, sitting&#10;&#10;Description automatically generated">
            <a:extLst>
              <a:ext uri="{FF2B5EF4-FFF2-40B4-BE49-F238E27FC236}">
                <a16:creationId xmlns:a16="http://schemas.microsoft.com/office/drawing/2014/main" id="{24CAB181-C174-8C41-8B8B-E5995FE93CFD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10434" t="211" r="70942" b="-1"/>
          <a:stretch/>
        </p:blipFill>
        <p:spPr>
          <a:xfrm>
            <a:off x="3233975" y="1522363"/>
            <a:ext cx="1122869" cy="3385815"/>
          </a:xfrm>
          <a:prstGeom prst="rect">
            <a:avLst/>
          </a:prstGeom>
        </p:spPr>
      </p:pic>
      <p:pic>
        <p:nvPicPr>
          <p:cNvPr id="80" name="Picture Placeholder 33">
            <a:extLst>
              <a:ext uri="{FF2B5EF4-FFF2-40B4-BE49-F238E27FC236}">
                <a16:creationId xmlns:a16="http://schemas.microsoft.com/office/drawing/2014/main" id="{D1F553DC-4319-7A49-8211-F3803A054C25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t="307" r="490" b="-1"/>
          <a:stretch/>
        </p:blipFill>
        <p:spPr>
          <a:xfrm>
            <a:off x="949037" y="1522363"/>
            <a:ext cx="2235107" cy="3392965"/>
          </a:xfrm>
          <a:prstGeom prst="rect">
            <a:avLst/>
          </a:prstGeom>
        </p:spPr>
      </p:pic>
      <p:pic>
        <p:nvPicPr>
          <p:cNvPr id="81" name="Picture 80" descr="A picture containing large, door, covered, standing&#10;&#10;Description automatically generated">
            <a:extLst>
              <a:ext uri="{FF2B5EF4-FFF2-40B4-BE49-F238E27FC236}">
                <a16:creationId xmlns:a16="http://schemas.microsoft.com/office/drawing/2014/main" id="{B14ACF1C-5845-AE4F-9944-D347928D653A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t="535" r="535"/>
          <a:stretch/>
        </p:blipFill>
        <p:spPr>
          <a:xfrm>
            <a:off x="355600" y="1522363"/>
            <a:ext cx="1119677" cy="3392965"/>
          </a:xfrm>
          <a:prstGeom prst="rect">
            <a:avLst/>
          </a:prstGeom>
        </p:spPr>
      </p:pic>
      <p:pic>
        <p:nvPicPr>
          <p:cNvPr id="82" name="Picture Placeholder 37">
            <a:extLst>
              <a:ext uri="{FF2B5EF4-FFF2-40B4-BE49-F238E27FC236}">
                <a16:creationId xmlns:a16="http://schemas.microsoft.com/office/drawing/2014/main" id="{88D7EDD5-F91D-774E-BDA6-BEC0155797AA}"/>
              </a:ext>
            </a:extLst>
          </p:cNvPr>
          <p:cNvPicPr>
            <a:picLocks noChangeAspect="1"/>
          </p:cNvPicPr>
          <p:nvPr/>
        </p:nvPicPr>
        <p:blipFill>
          <a:blip r:embed="rId8"/>
          <a:srcRect/>
          <a:stretch/>
        </p:blipFill>
        <p:spPr>
          <a:xfrm>
            <a:off x="6738669" y="1524935"/>
            <a:ext cx="2202224" cy="3380671"/>
          </a:xfrm>
          <a:prstGeom prst="rect">
            <a:avLst/>
          </a:prstGeom>
        </p:spPr>
      </p:pic>
      <p:pic>
        <p:nvPicPr>
          <p:cNvPr id="83" name="Picture 82">
            <a:extLst>
              <a:ext uri="{FF2B5EF4-FFF2-40B4-BE49-F238E27FC236}">
                <a16:creationId xmlns:a16="http://schemas.microsoft.com/office/drawing/2014/main" id="{ED54C246-E9A2-B84B-9496-9CC169166B25}"/>
              </a:ext>
            </a:extLst>
          </p:cNvPr>
          <p:cNvPicPr>
            <a:picLocks/>
          </p:cNvPicPr>
          <p:nvPr/>
        </p:nvPicPr>
        <p:blipFill rotWithShape="1">
          <a:blip r:embed="rId9"/>
          <a:srcRect l="42764" t="246" r="6122" b="186"/>
          <a:stretch/>
        </p:blipFill>
        <p:spPr>
          <a:xfrm>
            <a:off x="6112349" y="1522363"/>
            <a:ext cx="1121664" cy="3378312"/>
          </a:xfrm>
          <a:prstGeom prst="rect">
            <a:avLst/>
          </a:prstGeom>
        </p:spPr>
      </p:pic>
      <p:sp>
        <p:nvSpPr>
          <p:cNvPr id="84" name="Rectangle 83">
            <a:extLst>
              <a:ext uri="{FF2B5EF4-FFF2-40B4-BE49-F238E27FC236}">
                <a16:creationId xmlns:a16="http://schemas.microsoft.com/office/drawing/2014/main" id="{071037D9-D9D1-BA4D-A713-EF63992164B4}"/>
              </a:ext>
            </a:extLst>
          </p:cNvPr>
          <p:cNvSpPr/>
          <p:nvPr/>
        </p:nvSpPr>
        <p:spPr>
          <a:xfrm>
            <a:off x="3233975" y="4852144"/>
            <a:ext cx="2828544" cy="121920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 defTabSz="914377"/>
            <a:endParaRPr lang="en-US" sz="1800">
              <a:solidFill>
                <a:schemeClr val="tx1">
                  <a:lumMod val="75000"/>
                </a:schemeClr>
              </a:solidFill>
              <a:latin typeface="Arial" panose="020B0604020202020204"/>
            </a:endParaRPr>
          </a:p>
        </p:txBody>
      </p:sp>
      <p:sp>
        <p:nvSpPr>
          <p:cNvPr id="85" name="Rectangle 84">
            <a:extLst>
              <a:ext uri="{FF2B5EF4-FFF2-40B4-BE49-F238E27FC236}">
                <a16:creationId xmlns:a16="http://schemas.microsoft.com/office/drawing/2014/main" id="{2CBA68E3-C30C-B64B-801D-E6C5BCDF0B91}"/>
              </a:ext>
            </a:extLst>
          </p:cNvPr>
          <p:cNvSpPr/>
          <p:nvPr/>
        </p:nvSpPr>
        <p:spPr>
          <a:xfrm>
            <a:off x="6112349" y="4852144"/>
            <a:ext cx="2828544" cy="12192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 defTabSz="914377"/>
            <a:endParaRPr lang="en-US" sz="1800">
              <a:solidFill>
                <a:schemeClr val="tx1">
                  <a:lumMod val="75000"/>
                </a:schemeClr>
              </a:solidFill>
              <a:latin typeface="Arial" panose="020B0604020202020204"/>
            </a:endParaRPr>
          </a:p>
        </p:txBody>
      </p:sp>
      <p:sp>
        <p:nvSpPr>
          <p:cNvPr id="86" name="Rectangle 85">
            <a:extLst>
              <a:ext uri="{FF2B5EF4-FFF2-40B4-BE49-F238E27FC236}">
                <a16:creationId xmlns:a16="http://schemas.microsoft.com/office/drawing/2014/main" id="{D7AB58E2-074E-BA4C-A9BC-ADE9EB1C7A22}"/>
              </a:ext>
            </a:extLst>
          </p:cNvPr>
          <p:cNvSpPr/>
          <p:nvPr/>
        </p:nvSpPr>
        <p:spPr>
          <a:xfrm>
            <a:off x="8990725" y="4852144"/>
            <a:ext cx="2828544" cy="121920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 defTabSz="914377"/>
            <a:endParaRPr lang="en-US" sz="1800">
              <a:solidFill>
                <a:schemeClr val="bg2"/>
              </a:solidFill>
              <a:latin typeface="Arial" panose="020B0604020202020204"/>
            </a:endParaRPr>
          </a:p>
        </p:txBody>
      </p:sp>
      <p:sp>
        <p:nvSpPr>
          <p:cNvPr id="87" name="Rectangle 86">
            <a:extLst>
              <a:ext uri="{FF2B5EF4-FFF2-40B4-BE49-F238E27FC236}">
                <a16:creationId xmlns:a16="http://schemas.microsoft.com/office/drawing/2014/main" id="{B0F9B198-2048-B94E-9F89-2F9217341535}"/>
              </a:ext>
            </a:extLst>
          </p:cNvPr>
          <p:cNvSpPr/>
          <p:nvPr/>
        </p:nvSpPr>
        <p:spPr>
          <a:xfrm>
            <a:off x="355600" y="4852144"/>
            <a:ext cx="2828544" cy="12192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 defTabSz="914377"/>
            <a:endParaRPr lang="en-US" sz="1800">
              <a:solidFill>
                <a:schemeClr val="tx1">
                  <a:lumMod val="75000"/>
                </a:schemeClr>
              </a:solidFill>
              <a:latin typeface="Arial" panose="020B0604020202020204"/>
            </a:endParaRPr>
          </a:p>
        </p:txBody>
      </p:sp>
      <p:sp>
        <p:nvSpPr>
          <p:cNvPr id="88" name="Picture Placeholder 3">
            <a:extLst>
              <a:ext uri="{FF2B5EF4-FFF2-40B4-BE49-F238E27FC236}">
                <a16:creationId xmlns:a16="http://schemas.microsoft.com/office/drawing/2014/main" id="{05A4267D-E6F8-3949-88B6-59863A7C298D}"/>
              </a:ext>
            </a:extLst>
          </p:cNvPr>
          <p:cNvSpPr>
            <a:spLocks noGrp="1"/>
          </p:cNvSpPr>
          <p:nvPr>
            <p:ph type="pic" sz="quarter" idx="46" hasCustomPrompt="1"/>
          </p:nvPr>
        </p:nvSpPr>
        <p:spPr>
          <a:xfrm>
            <a:off x="6112349" y="1522363"/>
            <a:ext cx="2828544" cy="3328416"/>
          </a:xfrm>
          <a:prstGeom prst="rect">
            <a:avLst/>
          </a:prstGeom>
        </p:spPr>
        <p:txBody>
          <a:bodyPr vert="horz" lIns="640080" tIns="45720" rIns="640080" bIns="45720" rtlCol="0" anchor="ctr">
            <a:noAutofit/>
          </a:bodyPr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1333">
                <a:solidFill>
                  <a:schemeClr val="bg1"/>
                </a:solidFill>
                <a:highlight>
                  <a:srgbClr val="80B9F9"/>
                </a:highlight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  <p:sp>
        <p:nvSpPr>
          <p:cNvPr id="89" name="Picture Placeholder 3">
            <a:extLst>
              <a:ext uri="{FF2B5EF4-FFF2-40B4-BE49-F238E27FC236}">
                <a16:creationId xmlns:a16="http://schemas.microsoft.com/office/drawing/2014/main" id="{623389BD-3EFC-C540-A4B3-29959FD9314B}"/>
              </a:ext>
            </a:extLst>
          </p:cNvPr>
          <p:cNvSpPr>
            <a:spLocks noGrp="1"/>
          </p:cNvSpPr>
          <p:nvPr>
            <p:ph type="pic" sz="quarter" idx="47" hasCustomPrompt="1"/>
          </p:nvPr>
        </p:nvSpPr>
        <p:spPr>
          <a:xfrm>
            <a:off x="8990725" y="1522363"/>
            <a:ext cx="2828544" cy="3328416"/>
          </a:xfrm>
          <a:prstGeom prst="rect">
            <a:avLst/>
          </a:prstGeom>
        </p:spPr>
        <p:txBody>
          <a:bodyPr vert="horz" lIns="640080" tIns="45720" rIns="640080" bIns="45720" rtlCol="0" anchor="ctr">
            <a:noAutofit/>
          </a:bodyPr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1333">
                <a:solidFill>
                  <a:schemeClr val="bg1"/>
                </a:solidFill>
                <a:highlight>
                  <a:srgbClr val="80B9F9"/>
                </a:highlight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  <p:sp>
        <p:nvSpPr>
          <p:cNvPr id="90" name="Picture Placeholder 3">
            <a:extLst>
              <a:ext uri="{FF2B5EF4-FFF2-40B4-BE49-F238E27FC236}">
                <a16:creationId xmlns:a16="http://schemas.microsoft.com/office/drawing/2014/main" id="{D4D76BD0-3AA5-E041-A3BD-49318E9B69E5}"/>
              </a:ext>
            </a:extLst>
          </p:cNvPr>
          <p:cNvSpPr>
            <a:spLocks noGrp="1"/>
          </p:cNvSpPr>
          <p:nvPr>
            <p:ph type="pic" sz="quarter" idx="48" hasCustomPrompt="1"/>
          </p:nvPr>
        </p:nvSpPr>
        <p:spPr>
          <a:xfrm>
            <a:off x="3233975" y="1522363"/>
            <a:ext cx="2828544" cy="3328416"/>
          </a:xfrm>
          <a:prstGeom prst="rect">
            <a:avLst/>
          </a:prstGeom>
        </p:spPr>
        <p:txBody>
          <a:bodyPr vert="horz" lIns="640080" tIns="45720" rIns="640080" bIns="45720" rtlCol="0" anchor="ctr">
            <a:noAutofit/>
          </a:bodyPr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1333">
                <a:solidFill>
                  <a:schemeClr val="bg1"/>
                </a:solidFill>
                <a:highlight>
                  <a:srgbClr val="80B9F9"/>
                </a:highlight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  <p:sp>
        <p:nvSpPr>
          <p:cNvPr id="91" name="Picture Placeholder 3">
            <a:extLst>
              <a:ext uri="{FF2B5EF4-FFF2-40B4-BE49-F238E27FC236}">
                <a16:creationId xmlns:a16="http://schemas.microsoft.com/office/drawing/2014/main" id="{C0C00F48-DC02-0741-BCFF-248A1AED7595}"/>
              </a:ext>
            </a:extLst>
          </p:cNvPr>
          <p:cNvSpPr>
            <a:spLocks noGrp="1"/>
          </p:cNvSpPr>
          <p:nvPr>
            <p:ph type="pic" sz="quarter" idx="49" hasCustomPrompt="1"/>
          </p:nvPr>
        </p:nvSpPr>
        <p:spPr>
          <a:xfrm>
            <a:off x="355600" y="1522363"/>
            <a:ext cx="2828544" cy="3328416"/>
          </a:xfrm>
          <a:prstGeom prst="rect">
            <a:avLst/>
          </a:prstGeom>
        </p:spPr>
        <p:txBody>
          <a:bodyPr vert="horz" lIns="640080" tIns="45720" rIns="640080" bIns="45720" rtlCol="0" anchor="ctr">
            <a:noAutofit/>
          </a:bodyPr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1333">
                <a:solidFill>
                  <a:schemeClr val="bg1"/>
                </a:solidFill>
                <a:highlight>
                  <a:srgbClr val="80B9F9"/>
                </a:highlight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</p:spTree>
    <p:extLst>
      <p:ext uri="{BB962C8B-B14F-4D97-AF65-F5344CB8AC3E}">
        <p14:creationId xmlns:p14="http://schemas.microsoft.com/office/powerpoint/2010/main" val="17102810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CBFDDF4-0565-424E-AFE7-6000EF98D79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anchor="t"/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6" name="Slide Number Placeholder 2">
            <a:extLst>
              <a:ext uri="{FF2B5EF4-FFF2-40B4-BE49-F238E27FC236}">
                <a16:creationId xmlns:a16="http://schemas.microsoft.com/office/drawing/2014/main" id="{27B4EA28-C5FD-3148-BDC6-4611AEA92B5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bg1"/>
                </a:solidFill>
              </a:defRPr>
            </a:lvl1pPr>
          </a:lstStyle>
          <a:p>
            <a:fld id="{F531C153-56E2-4D58-BF8C-84423A751AD4}" type="slidenum">
              <a:rPr lang="en-US" smtClean="0"/>
              <a:t>‹#›</a:t>
            </a:fld>
            <a:endParaRPr lang="en-US"/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8F309016-0D2D-FC43-A289-E9884B1D5A3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3394" y="1230694"/>
            <a:ext cx="11425209" cy="4645173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609737273"/>
      </p:ext>
    </p:extLst>
  </p:cSld>
  <p:clrMapOvr>
    <a:masterClrMapping/>
  </p:clrMapOvr>
  <p:transition>
    <p:fade/>
  </p:transition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CONTENT WITH IMAGE_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AB13A8F6-4AF7-DF4E-8249-8611B901D5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3397" y="204645"/>
            <a:ext cx="5340071" cy="1183888"/>
          </a:xfrm>
        </p:spPr>
        <p:txBody>
          <a:bodyPr anchor="t"/>
          <a:lstStyle>
            <a:lvl1pPr>
              <a:defRPr/>
            </a:lvl1pPr>
          </a:lstStyle>
          <a:p>
            <a:r>
              <a:rPr lang="en-US"/>
              <a:t>Click to Add Title</a:t>
            </a:r>
            <a:br>
              <a:rPr lang="en-US"/>
            </a:br>
            <a:endParaRPr lang="en-US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31077D84-1D6B-AB45-9374-D471D1438E5F}"/>
              </a:ext>
            </a:extLst>
          </p:cNvPr>
          <p:cNvSpPr>
            <a:spLocks noGrp="1"/>
          </p:cNvSpPr>
          <p:nvPr>
            <p:ph sz="quarter" idx="48" hasCustomPrompt="1"/>
          </p:nvPr>
        </p:nvSpPr>
        <p:spPr>
          <a:xfrm>
            <a:off x="383395" y="1531408"/>
            <a:ext cx="5340069" cy="4056592"/>
          </a:xfrm>
        </p:spPr>
        <p:txBody>
          <a:bodyPr/>
          <a:lstStyle>
            <a:lvl1pPr>
              <a:defRPr sz="2400">
                <a:solidFill>
                  <a:schemeClr val="tx1"/>
                </a:solidFill>
              </a:defRPr>
            </a:lvl1pPr>
            <a:lvl2pPr>
              <a:defRPr sz="2133">
                <a:solidFill>
                  <a:schemeClr val="tx1"/>
                </a:solidFill>
              </a:defRPr>
            </a:lvl2pPr>
            <a:lvl3pPr>
              <a:defRPr sz="2133">
                <a:solidFill>
                  <a:schemeClr val="tx1"/>
                </a:solidFill>
              </a:defRPr>
            </a:lvl3pPr>
            <a:lvl4pPr>
              <a:defRPr sz="2133">
                <a:solidFill>
                  <a:schemeClr val="tx1"/>
                </a:solidFill>
              </a:defRPr>
            </a:lvl4pPr>
            <a:lvl5pPr>
              <a:defRPr sz="2133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add text or click icon to add content</a:t>
            </a:r>
          </a:p>
          <a:p>
            <a:pPr lvl="1"/>
            <a:r>
              <a:rPr lang="en-US"/>
              <a:t>First level bullet</a:t>
            </a:r>
          </a:p>
          <a:p>
            <a:pPr lvl="2"/>
            <a:r>
              <a:rPr lang="en-US"/>
              <a:t>Second level bullet</a:t>
            </a:r>
          </a:p>
          <a:p>
            <a:pPr lvl="3"/>
            <a:r>
              <a:rPr lang="en-US"/>
              <a:t>Third level bullet</a:t>
            </a:r>
          </a:p>
          <a:p>
            <a:pPr lvl="4"/>
            <a:r>
              <a:rPr lang="en-US"/>
              <a:t>Fourth level bullet</a:t>
            </a:r>
          </a:p>
        </p:txBody>
      </p:sp>
      <p:sp>
        <p:nvSpPr>
          <p:cNvPr id="26" name="Slide Number Placeholder 2">
            <a:extLst>
              <a:ext uri="{FF2B5EF4-FFF2-40B4-BE49-F238E27FC236}">
                <a16:creationId xmlns:a16="http://schemas.microsoft.com/office/drawing/2014/main" id="{ABF4B230-3977-AA4A-BBF1-51A68B68C01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tx1">
                    <a:lumMod val="50000"/>
                  </a:schemeClr>
                </a:solidFill>
              </a:defRPr>
            </a:lvl1pPr>
          </a:lstStyle>
          <a:p>
            <a:fld id="{AD6BAA4E-5F47-E640-8B90-67FB6D90528D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52" name="Picture 51" descr="A picture containing large, door, covered, standing&#10;&#10;Description automatically generated">
            <a:extLst>
              <a:ext uri="{FF2B5EF4-FFF2-40B4-BE49-F238E27FC236}">
                <a16:creationId xmlns:a16="http://schemas.microsoft.com/office/drawing/2014/main" id="{8D177BCB-A2E4-1747-8D64-11B64E5598FB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43697" r="61435" b="10766"/>
          <a:stretch/>
        </p:blipFill>
        <p:spPr>
          <a:xfrm>
            <a:off x="9168319" y="2123467"/>
            <a:ext cx="3023680" cy="2011680"/>
          </a:xfrm>
          <a:prstGeom prst="rect">
            <a:avLst/>
          </a:prstGeom>
        </p:spPr>
      </p:pic>
      <p:pic>
        <p:nvPicPr>
          <p:cNvPr id="53" name="Picture 52">
            <a:extLst>
              <a:ext uri="{FF2B5EF4-FFF2-40B4-BE49-F238E27FC236}">
                <a16:creationId xmlns:a16="http://schemas.microsoft.com/office/drawing/2014/main" id="{3F767451-3661-8044-AC1C-CC0C2E5CCFA7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4231" t="668" r="3725" b="2420"/>
          <a:stretch/>
        </p:blipFill>
        <p:spPr>
          <a:xfrm>
            <a:off x="6095996" y="2123467"/>
            <a:ext cx="3023616" cy="2011680"/>
          </a:xfrm>
          <a:prstGeom prst="rect">
            <a:avLst/>
          </a:prstGeom>
        </p:spPr>
      </p:pic>
      <p:pic>
        <p:nvPicPr>
          <p:cNvPr id="54" name="Picture 53">
            <a:extLst>
              <a:ext uri="{FF2B5EF4-FFF2-40B4-BE49-F238E27FC236}">
                <a16:creationId xmlns:a16="http://schemas.microsoft.com/office/drawing/2014/main" id="{DBB4B8B4-DEE2-5B43-916C-519D7B8EDCCB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2607" t="1487" r="1490" b="1787"/>
          <a:stretch/>
        </p:blipFill>
        <p:spPr>
          <a:xfrm>
            <a:off x="6095997" y="52160"/>
            <a:ext cx="3023616" cy="2021064"/>
          </a:xfrm>
          <a:prstGeom prst="rect">
            <a:avLst/>
          </a:prstGeom>
        </p:spPr>
      </p:pic>
      <p:pic>
        <p:nvPicPr>
          <p:cNvPr id="55" name="Picture 54" descr="A picture containing grass, outdoor, water, sitting&#10;&#10;Description automatically generated">
            <a:extLst>
              <a:ext uri="{FF2B5EF4-FFF2-40B4-BE49-F238E27FC236}">
                <a16:creationId xmlns:a16="http://schemas.microsoft.com/office/drawing/2014/main" id="{296DB915-A0B0-2F4D-8544-DAF648AAEEFB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t="1" r="17420" b="2371"/>
          <a:stretch/>
        </p:blipFill>
        <p:spPr>
          <a:xfrm>
            <a:off x="6096000" y="4191813"/>
            <a:ext cx="3023677" cy="2011680"/>
          </a:xfrm>
          <a:prstGeom prst="rect">
            <a:avLst/>
          </a:prstGeom>
        </p:spPr>
      </p:pic>
      <p:pic>
        <p:nvPicPr>
          <p:cNvPr id="56" name="Picture Placeholder 43">
            <a:extLst>
              <a:ext uri="{FF2B5EF4-FFF2-40B4-BE49-F238E27FC236}">
                <a16:creationId xmlns:a16="http://schemas.microsoft.com/office/drawing/2014/main" id="{FF666A9C-9FC3-2447-A50E-0B5AD1211572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168319" y="52160"/>
            <a:ext cx="3023679" cy="2021064"/>
          </a:xfrm>
          <a:prstGeom prst="rect">
            <a:avLst/>
          </a:prstGeom>
        </p:spPr>
      </p:pic>
      <p:pic>
        <p:nvPicPr>
          <p:cNvPr id="57" name="Picture 56" descr="Two people sitting on a bench&#10;&#10;Description automatically generated">
            <a:extLst>
              <a:ext uri="{FF2B5EF4-FFF2-40B4-BE49-F238E27FC236}">
                <a16:creationId xmlns:a16="http://schemas.microsoft.com/office/drawing/2014/main" id="{40CE3AF4-900C-804A-B60C-BFE7A5877896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r="4152" b="2237"/>
          <a:stretch/>
        </p:blipFill>
        <p:spPr>
          <a:xfrm>
            <a:off x="9169899" y="4191813"/>
            <a:ext cx="3020517" cy="2011680"/>
          </a:xfrm>
          <a:prstGeom prst="rect">
            <a:avLst/>
          </a:prstGeom>
        </p:spPr>
      </p:pic>
      <p:sp>
        <p:nvSpPr>
          <p:cNvPr id="58" name="Text Placeholder 6">
            <a:extLst>
              <a:ext uri="{FF2B5EF4-FFF2-40B4-BE49-F238E27FC236}">
                <a16:creationId xmlns:a16="http://schemas.microsoft.com/office/drawing/2014/main" id="{B39AA189-03DA-9242-83EF-676688FB8311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9296361" y="2266652"/>
            <a:ext cx="2767599" cy="1725313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 defTabSz="609585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Tx/>
              <a:buNone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21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13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1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9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lvl="0" indent="0" algn="l" defTabSz="609585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Tx/>
              <a:buNone/>
            </a:pPr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59" name="Text Placeholder 6">
            <a:extLst>
              <a:ext uri="{FF2B5EF4-FFF2-40B4-BE49-F238E27FC236}">
                <a16:creationId xmlns:a16="http://schemas.microsoft.com/office/drawing/2014/main" id="{382A8C61-C745-DE4C-B3B7-8A96A7FC21A0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6224008" y="4334998"/>
            <a:ext cx="2767597" cy="1725313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 defTabSz="609585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Tx/>
              <a:buNone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21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13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1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9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lvl="0" indent="0" algn="l" defTabSz="609585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Tx/>
              <a:buNone/>
            </a:pPr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60" name="Text Placeholder 6">
            <a:extLst>
              <a:ext uri="{FF2B5EF4-FFF2-40B4-BE49-F238E27FC236}">
                <a16:creationId xmlns:a16="http://schemas.microsoft.com/office/drawing/2014/main" id="{162325B4-239F-A142-8E7A-22039C50A270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6224007" y="200036"/>
            <a:ext cx="2767599" cy="1725313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 defTabSz="609585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Tx/>
              <a:buNone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21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13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1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9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lvl="0" indent="0" algn="l" defTabSz="609585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Tx/>
              <a:buNone/>
            </a:pPr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61" name="Picture Placeholder 3">
            <a:extLst>
              <a:ext uri="{FF2B5EF4-FFF2-40B4-BE49-F238E27FC236}">
                <a16:creationId xmlns:a16="http://schemas.microsoft.com/office/drawing/2014/main" id="{F0F82607-B549-C740-91CC-128D161F65F8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9168320" y="52160"/>
            <a:ext cx="3023681" cy="2021064"/>
          </a:xfrm>
          <a:prstGeom prst="rect">
            <a:avLst/>
          </a:prstGeom>
        </p:spPr>
        <p:txBody>
          <a:bodyPr vert="horz" lIns="640080" tIns="45720" rIns="640080" bIns="45720" rtlCol="0" anchor="ctr">
            <a:noAutofit/>
          </a:bodyPr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1067">
                <a:solidFill>
                  <a:schemeClr val="bg1"/>
                </a:solidFill>
                <a:highlight>
                  <a:srgbClr val="80B9F9"/>
                </a:highlight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  <p:sp>
        <p:nvSpPr>
          <p:cNvPr id="62" name="Picture Placeholder 3">
            <a:extLst>
              <a:ext uri="{FF2B5EF4-FFF2-40B4-BE49-F238E27FC236}">
                <a16:creationId xmlns:a16="http://schemas.microsoft.com/office/drawing/2014/main" id="{88EA48C6-5A0D-3C42-9036-29758D6CE9F3}"/>
              </a:ext>
            </a:extLst>
          </p:cNvPr>
          <p:cNvSpPr>
            <a:spLocks noGrp="1"/>
          </p:cNvSpPr>
          <p:nvPr>
            <p:ph type="pic" sz="quarter" idx="51" hasCustomPrompt="1"/>
          </p:nvPr>
        </p:nvSpPr>
        <p:spPr>
          <a:xfrm>
            <a:off x="9169900" y="4191813"/>
            <a:ext cx="3023681" cy="2011680"/>
          </a:xfrm>
          <a:prstGeom prst="rect">
            <a:avLst/>
          </a:prstGeom>
        </p:spPr>
        <p:txBody>
          <a:bodyPr vert="horz" lIns="640080" tIns="45720" rIns="640080" bIns="45720" rtlCol="0" anchor="ctr">
            <a:noAutofit/>
          </a:bodyPr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1067">
                <a:solidFill>
                  <a:schemeClr val="bg1"/>
                </a:solidFill>
                <a:highlight>
                  <a:srgbClr val="80B9F9"/>
                </a:highlight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  <p:sp>
        <p:nvSpPr>
          <p:cNvPr id="63" name="Picture Placeholder 3">
            <a:extLst>
              <a:ext uri="{FF2B5EF4-FFF2-40B4-BE49-F238E27FC236}">
                <a16:creationId xmlns:a16="http://schemas.microsoft.com/office/drawing/2014/main" id="{32D0C587-9F22-F743-895D-114D342DF8CF}"/>
              </a:ext>
            </a:extLst>
          </p:cNvPr>
          <p:cNvSpPr>
            <a:spLocks noGrp="1"/>
          </p:cNvSpPr>
          <p:nvPr>
            <p:ph type="pic" sz="quarter" idx="50" hasCustomPrompt="1"/>
          </p:nvPr>
        </p:nvSpPr>
        <p:spPr>
          <a:xfrm>
            <a:off x="6095931" y="2121988"/>
            <a:ext cx="3023681" cy="2011680"/>
          </a:xfrm>
          <a:prstGeom prst="rect">
            <a:avLst/>
          </a:prstGeom>
        </p:spPr>
        <p:txBody>
          <a:bodyPr vert="horz" lIns="640080" tIns="45720" rIns="640080" bIns="45720" rtlCol="0" anchor="ctr">
            <a:noAutofit/>
          </a:bodyPr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1067">
                <a:solidFill>
                  <a:schemeClr val="bg1"/>
                </a:solidFill>
                <a:highlight>
                  <a:srgbClr val="80B9F9"/>
                </a:highlight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</p:spTree>
    <p:extLst>
      <p:ext uri="{BB962C8B-B14F-4D97-AF65-F5344CB8AC3E}">
        <p14:creationId xmlns:p14="http://schemas.microsoft.com/office/powerpoint/2010/main" val="3483516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WITH IMAGE_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2" name="Picture Placeholder 19">
            <a:extLst>
              <a:ext uri="{FF2B5EF4-FFF2-40B4-BE49-F238E27FC236}">
                <a16:creationId xmlns:a16="http://schemas.microsoft.com/office/drawing/2014/main" id="{C1CC2912-BC08-2242-B79A-CDAA8EB78664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460"/>
          <a:stretch/>
        </p:blipFill>
        <p:spPr>
          <a:xfrm>
            <a:off x="9168314" y="4191905"/>
            <a:ext cx="3023681" cy="2011587"/>
          </a:xfrm>
          <a:prstGeom prst="rect">
            <a:avLst/>
          </a:prstGeom>
        </p:spPr>
      </p:pic>
      <p:sp>
        <p:nvSpPr>
          <p:cNvPr id="43" name="Rectangle 42">
            <a:extLst>
              <a:ext uri="{FF2B5EF4-FFF2-40B4-BE49-F238E27FC236}">
                <a16:creationId xmlns:a16="http://schemas.microsoft.com/office/drawing/2014/main" id="{4F400CCF-8E9D-694D-AE0C-BB62FBAD9E75}"/>
              </a:ext>
            </a:extLst>
          </p:cNvPr>
          <p:cNvSpPr/>
          <p:nvPr/>
        </p:nvSpPr>
        <p:spPr>
          <a:xfrm>
            <a:off x="6095999" y="4191812"/>
            <a:ext cx="3023679" cy="2011680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pic>
        <p:nvPicPr>
          <p:cNvPr id="44" name="Picture Placeholder 15">
            <a:extLst>
              <a:ext uri="{FF2B5EF4-FFF2-40B4-BE49-F238E27FC236}">
                <a16:creationId xmlns:a16="http://schemas.microsoft.com/office/drawing/2014/main" id="{7ED23D17-5D24-CD40-A527-2576BB49E834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b="464"/>
          <a:stretch/>
        </p:blipFill>
        <p:spPr>
          <a:xfrm>
            <a:off x="6096001" y="2121995"/>
            <a:ext cx="3023681" cy="2011680"/>
          </a:xfrm>
          <a:prstGeom prst="rect">
            <a:avLst/>
          </a:prstGeom>
        </p:spPr>
      </p:pic>
      <p:sp>
        <p:nvSpPr>
          <p:cNvPr id="45" name="Rectangle 44">
            <a:extLst>
              <a:ext uri="{FF2B5EF4-FFF2-40B4-BE49-F238E27FC236}">
                <a16:creationId xmlns:a16="http://schemas.microsoft.com/office/drawing/2014/main" id="{168BA81E-7810-744D-84FB-39FDB50BCFE9}"/>
              </a:ext>
            </a:extLst>
          </p:cNvPr>
          <p:cNvSpPr/>
          <p:nvPr/>
        </p:nvSpPr>
        <p:spPr>
          <a:xfrm>
            <a:off x="9168321" y="2121987"/>
            <a:ext cx="3023679" cy="201168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pic>
        <p:nvPicPr>
          <p:cNvPr id="46" name="Picture Placeholder 11">
            <a:extLst>
              <a:ext uri="{FF2B5EF4-FFF2-40B4-BE49-F238E27FC236}">
                <a16:creationId xmlns:a16="http://schemas.microsoft.com/office/drawing/2014/main" id="{7FC0F9B9-6DCC-FF43-A137-F5C76E539C4A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t="2333" r="2334" b="-128"/>
          <a:stretch/>
        </p:blipFill>
        <p:spPr>
          <a:xfrm>
            <a:off x="9168320" y="54798"/>
            <a:ext cx="3023681" cy="2018425"/>
          </a:xfrm>
          <a:prstGeom prst="rect">
            <a:avLst/>
          </a:prstGeom>
        </p:spPr>
      </p:pic>
      <p:sp>
        <p:nvSpPr>
          <p:cNvPr id="47" name="Rectangle 46">
            <a:extLst>
              <a:ext uri="{FF2B5EF4-FFF2-40B4-BE49-F238E27FC236}">
                <a16:creationId xmlns:a16="http://schemas.microsoft.com/office/drawing/2014/main" id="{DB5E86E3-A626-8440-970A-D2D32C29EC30}"/>
              </a:ext>
            </a:extLst>
          </p:cNvPr>
          <p:cNvSpPr/>
          <p:nvPr/>
        </p:nvSpPr>
        <p:spPr>
          <a:xfrm>
            <a:off x="6095999" y="52160"/>
            <a:ext cx="3023679" cy="2021064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48" name="Text Placeholder 6">
            <a:extLst>
              <a:ext uri="{FF2B5EF4-FFF2-40B4-BE49-F238E27FC236}">
                <a16:creationId xmlns:a16="http://schemas.microsoft.com/office/drawing/2014/main" id="{1DD7D525-35C6-2445-8C6F-37AA47A125F1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9296361" y="2269864"/>
            <a:ext cx="2767599" cy="1725313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 defTabSz="609585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Tx/>
              <a:buNone/>
              <a:defRPr sz="2667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21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13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1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9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lvl="0" indent="0" algn="l" defTabSz="609585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Tx/>
              <a:buNone/>
            </a:pPr>
            <a:r>
              <a:rPr lang="en-US"/>
              <a:t>Click to add text</a:t>
            </a:r>
          </a:p>
          <a:p>
            <a:pPr lvl="1"/>
            <a:r>
              <a:rPr lang="en-US"/>
              <a:t>First level bullet</a:t>
            </a:r>
          </a:p>
        </p:txBody>
      </p:sp>
      <p:sp>
        <p:nvSpPr>
          <p:cNvPr id="49" name="Text Placeholder 6">
            <a:extLst>
              <a:ext uri="{FF2B5EF4-FFF2-40B4-BE49-F238E27FC236}">
                <a16:creationId xmlns:a16="http://schemas.microsoft.com/office/drawing/2014/main" id="{8058AFA0-5538-9B45-B1E9-45A6ADE0DBA0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6224039" y="4339689"/>
            <a:ext cx="2767599" cy="1725313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 defTabSz="609585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Tx/>
              <a:buNone/>
              <a:defRPr sz="2667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21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13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1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9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lvl="0" indent="0" algn="l" defTabSz="609585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Tx/>
              <a:buNone/>
            </a:pPr>
            <a:r>
              <a:rPr lang="en-US"/>
              <a:t>Click to add text</a:t>
            </a:r>
          </a:p>
          <a:p>
            <a:pPr lvl="1"/>
            <a:r>
              <a:rPr lang="en-US"/>
              <a:t>First level bullet</a:t>
            </a:r>
          </a:p>
        </p:txBody>
      </p:sp>
      <p:sp>
        <p:nvSpPr>
          <p:cNvPr id="50" name="Text Placeholder 6">
            <a:extLst>
              <a:ext uri="{FF2B5EF4-FFF2-40B4-BE49-F238E27FC236}">
                <a16:creationId xmlns:a16="http://schemas.microsoft.com/office/drawing/2014/main" id="{70B4DD9F-98A3-1344-B756-CC35847A7B85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6224038" y="200036"/>
            <a:ext cx="2767599" cy="1725313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 defTabSz="609585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Tx/>
              <a:buNone/>
              <a:defRPr sz="2667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21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13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1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9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lvl="0" indent="0" algn="l" defTabSz="609585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Tx/>
              <a:buNone/>
            </a:pPr>
            <a:r>
              <a:rPr lang="en-US"/>
              <a:t>Click to add text</a:t>
            </a:r>
          </a:p>
          <a:p>
            <a:pPr lvl="1"/>
            <a:r>
              <a:rPr lang="en-US"/>
              <a:t>First level bullet</a:t>
            </a:r>
          </a:p>
        </p:txBody>
      </p:sp>
      <p:sp>
        <p:nvSpPr>
          <p:cNvPr id="51" name="Picture Placeholder 3">
            <a:extLst>
              <a:ext uri="{FF2B5EF4-FFF2-40B4-BE49-F238E27FC236}">
                <a16:creationId xmlns:a16="http://schemas.microsoft.com/office/drawing/2014/main" id="{670B0FA1-84B0-9A43-B07D-DEC9DCA544F0}"/>
              </a:ext>
            </a:extLst>
          </p:cNvPr>
          <p:cNvSpPr>
            <a:spLocks noGrp="1"/>
          </p:cNvSpPr>
          <p:nvPr>
            <p:ph type="pic" sz="quarter" idx="51" hasCustomPrompt="1"/>
          </p:nvPr>
        </p:nvSpPr>
        <p:spPr>
          <a:xfrm>
            <a:off x="9168314" y="4191717"/>
            <a:ext cx="3023681" cy="2011587"/>
          </a:xfrm>
          <a:prstGeom prst="rect">
            <a:avLst/>
          </a:prstGeom>
        </p:spPr>
        <p:txBody>
          <a:bodyPr vert="horz" lIns="640080" tIns="45720" rIns="640080" bIns="45720" rtlCol="0" anchor="ctr">
            <a:noAutofit/>
          </a:bodyPr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933">
                <a:solidFill>
                  <a:schemeClr val="bg1"/>
                </a:solidFill>
                <a:highlight>
                  <a:srgbClr val="80B9F9"/>
                </a:highlight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  <p:sp>
        <p:nvSpPr>
          <p:cNvPr id="52" name="Picture Placeholder 3">
            <a:extLst>
              <a:ext uri="{FF2B5EF4-FFF2-40B4-BE49-F238E27FC236}">
                <a16:creationId xmlns:a16="http://schemas.microsoft.com/office/drawing/2014/main" id="{B8407CE8-1BEA-C644-8AFD-4E1A9B46B954}"/>
              </a:ext>
            </a:extLst>
          </p:cNvPr>
          <p:cNvSpPr>
            <a:spLocks noGrp="1"/>
          </p:cNvSpPr>
          <p:nvPr>
            <p:ph type="pic" sz="quarter" idx="50" hasCustomPrompt="1"/>
          </p:nvPr>
        </p:nvSpPr>
        <p:spPr>
          <a:xfrm>
            <a:off x="6096001" y="2121989"/>
            <a:ext cx="3023681" cy="2011679"/>
          </a:xfrm>
          <a:prstGeom prst="rect">
            <a:avLst/>
          </a:prstGeom>
        </p:spPr>
        <p:txBody>
          <a:bodyPr vert="horz" lIns="640080" tIns="45720" rIns="640080" bIns="45720" rtlCol="0" anchor="ctr">
            <a:noAutofit/>
          </a:bodyPr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933">
                <a:solidFill>
                  <a:schemeClr val="bg1"/>
                </a:solidFill>
                <a:highlight>
                  <a:srgbClr val="80B9F9"/>
                </a:highlight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  <p:sp>
        <p:nvSpPr>
          <p:cNvPr id="53" name="Picture Placeholder 3">
            <a:extLst>
              <a:ext uri="{FF2B5EF4-FFF2-40B4-BE49-F238E27FC236}">
                <a16:creationId xmlns:a16="http://schemas.microsoft.com/office/drawing/2014/main" id="{28988544-8973-4948-9B98-72039E5397F1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9168318" y="52160"/>
            <a:ext cx="3023681" cy="2021064"/>
          </a:xfrm>
          <a:prstGeom prst="rect">
            <a:avLst/>
          </a:prstGeom>
        </p:spPr>
        <p:txBody>
          <a:bodyPr vert="horz" lIns="640080" tIns="45720" rIns="640080" bIns="45720" rtlCol="0" anchor="ctr">
            <a:noAutofit/>
          </a:bodyPr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933">
                <a:solidFill>
                  <a:schemeClr val="bg1"/>
                </a:solidFill>
                <a:highlight>
                  <a:srgbClr val="80B9F9"/>
                </a:highlight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B13A8F6-4AF7-DF4E-8249-8611B901D5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3397" y="204645"/>
            <a:ext cx="5340071" cy="1183888"/>
          </a:xfrm>
        </p:spPr>
        <p:txBody>
          <a:bodyPr anchor="t"/>
          <a:lstStyle>
            <a:lvl1pPr>
              <a:defRPr/>
            </a:lvl1pPr>
          </a:lstStyle>
          <a:p>
            <a:r>
              <a:rPr lang="en-US"/>
              <a:t>Click to Add Title</a:t>
            </a:r>
            <a:br>
              <a:rPr lang="en-US"/>
            </a:br>
            <a:endParaRPr lang="en-US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31077D84-1D6B-AB45-9374-D471D1438E5F}"/>
              </a:ext>
            </a:extLst>
          </p:cNvPr>
          <p:cNvSpPr>
            <a:spLocks noGrp="1"/>
          </p:cNvSpPr>
          <p:nvPr>
            <p:ph sz="quarter" idx="48" hasCustomPrompt="1"/>
          </p:nvPr>
        </p:nvSpPr>
        <p:spPr>
          <a:xfrm>
            <a:off x="383395" y="1531408"/>
            <a:ext cx="5340069" cy="4056592"/>
          </a:xfrm>
        </p:spPr>
        <p:txBody>
          <a:bodyPr/>
          <a:lstStyle>
            <a:lvl1pPr>
              <a:defRPr lang="en-US" sz="2400" dirty="0">
                <a:solidFill>
                  <a:schemeClr val="tx1"/>
                </a:solidFill>
              </a:defRPr>
            </a:lvl1pPr>
            <a:lvl2pPr>
              <a:defRPr lang="en-US" sz="2133" dirty="0" smtClean="0">
                <a:solidFill>
                  <a:schemeClr val="tx1"/>
                </a:solidFill>
              </a:defRPr>
            </a:lvl2pPr>
            <a:lvl3pPr>
              <a:defRPr lang="en-US" sz="2133" dirty="0" smtClean="0">
                <a:solidFill>
                  <a:schemeClr val="tx1"/>
                </a:solidFill>
              </a:defRPr>
            </a:lvl3pPr>
            <a:lvl4pPr>
              <a:defRPr lang="en-US" sz="2133" dirty="0" smtClean="0">
                <a:solidFill>
                  <a:schemeClr val="tx1"/>
                </a:solidFill>
              </a:defRPr>
            </a:lvl4pPr>
            <a:lvl5pPr>
              <a:defRPr lang="en-US" sz="2133" dirty="0" smtClean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add text or click icon to add content</a:t>
            </a:r>
          </a:p>
          <a:p>
            <a:pPr lvl="1"/>
            <a:r>
              <a:rPr lang="en-US"/>
              <a:t>First level bullet</a:t>
            </a:r>
          </a:p>
          <a:p>
            <a:pPr lvl="2"/>
            <a:r>
              <a:rPr lang="en-US"/>
              <a:t>Second level bullet</a:t>
            </a:r>
          </a:p>
          <a:p>
            <a:pPr lvl="3"/>
            <a:r>
              <a:rPr lang="en-US"/>
              <a:t>Third level bullet</a:t>
            </a:r>
          </a:p>
          <a:p>
            <a:pPr lvl="4"/>
            <a:r>
              <a:rPr lang="en-US"/>
              <a:t>Fourth level bullet</a:t>
            </a:r>
          </a:p>
        </p:txBody>
      </p:sp>
      <p:sp>
        <p:nvSpPr>
          <p:cNvPr id="22" name="Slide Number Placeholder 2">
            <a:extLst>
              <a:ext uri="{FF2B5EF4-FFF2-40B4-BE49-F238E27FC236}">
                <a16:creationId xmlns:a16="http://schemas.microsoft.com/office/drawing/2014/main" id="{E14966DD-602D-9449-8441-2402B1C0BEB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lang="en-US" smtClean="0"/>
            </a:lvl1pPr>
          </a:lstStyle>
          <a:p>
            <a:fld id="{AD6BAA4E-5F47-E640-8B90-67FB6D90528D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842994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NTENT WITH IMAGE_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FDE744D7-8C8D-CF42-B94C-88DF2CD0E294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1690" r="3076" b="1105"/>
          <a:stretch/>
        </p:blipFill>
        <p:spPr>
          <a:xfrm>
            <a:off x="2410383" y="3655503"/>
            <a:ext cx="4607724" cy="3208535"/>
          </a:xfrm>
          <a:prstGeom prst="rect">
            <a:avLst/>
          </a:prstGeom>
        </p:spPr>
      </p:pic>
      <p:pic>
        <p:nvPicPr>
          <p:cNvPr id="10" name="Picture Placeholder 42">
            <a:extLst>
              <a:ext uri="{FF2B5EF4-FFF2-40B4-BE49-F238E27FC236}">
                <a16:creationId xmlns:a16="http://schemas.microsoft.com/office/drawing/2014/main" id="{525484B2-94CF-D846-9569-729224AE98EB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950" b="-1"/>
          <a:stretch/>
        </p:blipFill>
        <p:spPr>
          <a:xfrm>
            <a:off x="0" y="0"/>
            <a:ext cx="3732765" cy="2508267"/>
          </a:xfrm>
          <a:prstGeom prst="rect">
            <a:avLst/>
          </a:prstGeom>
        </p:spPr>
      </p:pic>
      <p:pic>
        <p:nvPicPr>
          <p:cNvPr id="11" name="Picture Placeholder 44">
            <a:extLst>
              <a:ext uri="{FF2B5EF4-FFF2-40B4-BE49-F238E27FC236}">
                <a16:creationId xmlns:a16="http://schemas.microsoft.com/office/drawing/2014/main" id="{71CDAC28-1EF5-0843-92AE-E748F6728EA1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t="950" b="-1"/>
          <a:stretch/>
        </p:blipFill>
        <p:spPr>
          <a:xfrm>
            <a:off x="3815090" y="0"/>
            <a:ext cx="2975647" cy="2508267"/>
          </a:xfrm>
          <a:prstGeom prst="rect">
            <a:avLst/>
          </a:prstGeom>
        </p:spPr>
      </p:pic>
      <p:sp>
        <p:nvSpPr>
          <p:cNvPr id="4" name="Picture Placeholder 9">
            <a:extLst>
              <a:ext uri="{FF2B5EF4-FFF2-40B4-BE49-F238E27FC236}">
                <a16:creationId xmlns:a16="http://schemas.microsoft.com/office/drawing/2014/main" id="{DF201D75-4B45-3C48-97C0-53A8BE0BBA56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-3152" y="3872"/>
            <a:ext cx="3735917" cy="2508267"/>
          </a:xfrm>
          <a:prstGeom prst="rect">
            <a:avLst/>
          </a:prstGeom>
          <a:noFill/>
        </p:spPr>
        <p:txBody>
          <a:bodyPr lIns="1097280" rIns="1097280" anchor="ctr"/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933" b="0" i="0" kern="1200">
                <a:solidFill>
                  <a:schemeClr val="bg1">
                    <a:alpha val="88000"/>
                  </a:schemeClr>
                </a:solidFill>
                <a:highlight>
                  <a:srgbClr val="80B9F9"/>
                </a:highlight>
                <a:latin typeface="+mn-lt"/>
                <a:ea typeface="Helvetica Neue Thin" panose="020B0403020202020204" pitchFamily="34" charset="0"/>
                <a:cs typeface="+mn-cs"/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  <p:sp>
        <p:nvSpPr>
          <p:cNvPr id="5" name="Picture Placeholder 9">
            <a:extLst>
              <a:ext uri="{FF2B5EF4-FFF2-40B4-BE49-F238E27FC236}">
                <a16:creationId xmlns:a16="http://schemas.microsoft.com/office/drawing/2014/main" id="{7EE155F5-287D-EC47-B09E-130702595B9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3814157" y="0"/>
            <a:ext cx="2976579" cy="2508267"/>
          </a:xfrm>
          <a:prstGeom prst="rect">
            <a:avLst/>
          </a:prstGeom>
          <a:noFill/>
        </p:spPr>
        <p:txBody>
          <a:bodyPr vert="horz" lIns="640080" tIns="91440" rIns="640080" bIns="0" rtlCol="0" anchor="ctr">
            <a:noAutofit/>
          </a:bodyPr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933" b="0" i="0" kern="1200" dirty="0">
                <a:solidFill>
                  <a:schemeClr val="bg1">
                    <a:alpha val="88000"/>
                  </a:schemeClr>
                </a:solidFill>
                <a:highlight>
                  <a:srgbClr val="80B9F9"/>
                </a:highlight>
                <a:latin typeface="+mn-lt"/>
                <a:ea typeface="Helvetica Neue Thin" panose="020B0403020202020204" pitchFamily="34" charset="0"/>
                <a:cs typeface="+mn-cs"/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  <p:sp>
        <p:nvSpPr>
          <p:cNvPr id="8" name="Picture Placeholder 9">
            <a:extLst>
              <a:ext uri="{FF2B5EF4-FFF2-40B4-BE49-F238E27FC236}">
                <a16:creationId xmlns:a16="http://schemas.microsoft.com/office/drawing/2014/main" id="{7A9A566D-C952-FC46-9BD6-42DB36E96314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2410383" y="3655503"/>
            <a:ext cx="4613559" cy="3208535"/>
          </a:xfrm>
          <a:prstGeom prst="rect">
            <a:avLst/>
          </a:prstGeom>
          <a:noFill/>
        </p:spPr>
        <p:txBody>
          <a:bodyPr vert="horz" lIns="1280160" tIns="45720" rIns="1280160" bIns="45720" rtlCol="0" anchor="ctr">
            <a:noAutofit/>
          </a:bodyPr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933" b="0" i="0" kern="1200" dirty="0">
                <a:solidFill>
                  <a:schemeClr val="bg1">
                    <a:alpha val="88000"/>
                  </a:schemeClr>
                </a:solidFill>
                <a:highlight>
                  <a:srgbClr val="80B9F9"/>
                </a:highlight>
                <a:latin typeface="+mn-lt"/>
                <a:ea typeface="Helvetica Neue Thin" panose="020B0403020202020204" pitchFamily="34" charset="0"/>
                <a:cs typeface="+mn-cs"/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  <p:pic>
        <p:nvPicPr>
          <p:cNvPr id="13" name="Picture Placeholder 49">
            <a:extLst>
              <a:ext uri="{FF2B5EF4-FFF2-40B4-BE49-F238E27FC236}">
                <a16:creationId xmlns:a16="http://schemas.microsoft.com/office/drawing/2014/main" id="{51D1F74A-B696-8242-9A3D-D1F6A064320F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t="793"/>
          <a:stretch/>
        </p:blipFill>
        <p:spPr>
          <a:xfrm>
            <a:off x="6869912" y="-3248"/>
            <a:ext cx="5322089" cy="2510773"/>
          </a:xfrm>
          <a:prstGeom prst="rect">
            <a:avLst/>
          </a:prstGeom>
        </p:spPr>
      </p:pic>
      <p:pic>
        <p:nvPicPr>
          <p:cNvPr id="16" name="Picture Placeholder 59">
            <a:extLst>
              <a:ext uri="{FF2B5EF4-FFF2-40B4-BE49-F238E27FC236}">
                <a16:creationId xmlns:a16="http://schemas.microsoft.com/office/drawing/2014/main" id="{E28BF39A-5D8B-7443-A8AB-004F52FE366A}"/>
              </a:ext>
            </a:extLst>
          </p:cNvPr>
          <p:cNvPicPr>
            <a:picLocks noChangeAspect="1"/>
          </p:cNvPicPr>
          <p:nvPr/>
        </p:nvPicPr>
        <p:blipFill>
          <a:blip r:embed="rId6"/>
          <a:srcRect/>
          <a:stretch/>
        </p:blipFill>
        <p:spPr>
          <a:xfrm>
            <a:off x="7111584" y="3649466"/>
            <a:ext cx="5080179" cy="3208535"/>
          </a:xfrm>
          <a:prstGeom prst="rect">
            <a:avLst/>
          </a:prstGeom>
        </p:spPr>
      </p:pic>
      <p:pic>
        <p:nvPicPr>
          <p:cNvPr id="14" name="Picture Placeholder 51">
            <a:extLst>
              <a:ext uri="{FF2B5EF4-FFF2-40B4-BE49-F238E27FC236}">
                <a16:creationId xmlns:a16="http://schemas.microsoft.com/office/drawing/2014/main" id="{DA0EE50A-30C4-7B4E-BF1E-98711CB94830}"/>
              </a:ext>
            </a:extLst>
          </p:cNvPr>
          <p:cNvPicPr>
            <a:picLocks noChangeAspect="1"/>
          </p:cNvPicPr>
          <p:nvPr/>
        </p:nvPicPr>
        <p:blipFill>
          <a:blip r:embed="rId7"/>
          <a:srcRect/>
          <a:stretch/>
        </p:blipFill>
        <p:spPr>
          <a:xfrm>
            <a:off x="1063" y="3649466"/>
            <a:ext cx="2315019" cy="3208535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D1AA0FBA-9125-5A41-B907-C88B86C045F8}"/>
              </a:ext>
            </a:extLst>
          </p:cNvPr>
          <p:cNvSpPr/>
          <p:nvPr/>
        </p:nvSpPr>
        <p:spPr>
          <a:xfrm>
            <a:off x="0" y="2587857"/>
            <a:ext cx="12192000" cy="982848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7" name="Picture Placeholder 9">
            <a:extLst>
              <a:ext uri="{FF2B5EF4-FFF2-40B4-BE49-F238E27FC236}">
                <a16:creationId xmlns:a16="http://schemas.microsoft.com/office/drawing/2014/main" id="{FCA73420-18DD-FF4F-8245-F1064F8DADF0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-1063" y="3649466"/>
            <a:ext cx="2317145" cy="3208535"/>
          </a:xfrm>
          <a:prstGeom prst="rect">
            <a:avLst/>
          </a:prstGeom>
          <a:noFill/>
        </p:spPr>
        <p:txBody>
          <a:bodyPr lIns="457200" rIns="457200" anchor="ctr"/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933" b="0" i="0" kern="1200" dirty="0">
                <a:solidFill>
                  <a:schemeClr val="bg1">
                    <a:alpha val="88000"/>
                  </a:schemeClr>
                </a:solidFill>
                <a:highlight>
                  <a:srgbClr val="80B9F9"/>
                </a:highlight>
                <a:latin typeface="+mn-lt"/>
                <a:ea typeface="Helvetica Neue Thin" panose="020B0403020202020204" pitchFamily="34" charset="0"/>
                <a:cs typeface="+mn-cs"/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  <p:sp>
        <p:nvSpPr>
          <p:cNvPr id="9" name="Picture Placeholder 9">
            <a:extLst>
              <a:ext uri="{FF2B5EF4-FFF2-40B4-BE49-F238E27FC236}">
                <a16:creationId xmlns:a16="http://schemas.microsoft.com/office/drawing/2014/main" id="{A0BE0697-0B7E-1F4C-A69C-9C16C31A88AA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7111585" y="3649466"/>
            <a:ext cx="5080652" cy="3208535"/>
          </a:xfrm>
          <a:prstGeom prst="rect">
            <a:avLst/>
          </a:prstGeom>
          <a:noFill/>
        </p:spPr>
        <p:txBody>
          <a:bodyPr vert="horz" lIns="1463040" tIns="0" rIns="1463040" bIns="0" rtlCol="0" anchor="ctr">
            <a:noAutofit/>
          </a:bodyPr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933" b="0" i="0" kern="1200" dirty="0">
                <a:solidFill>
                  <a:schemeClr val="bg1">
                    <a:alpha val="88000"/>
                  </a:schemeClr>
                </a:solidFill>
                <a:highlight>
                  <a:srgbClr val="80B9F9"/>
                </a:highlight>
                <a:latin typeface="+mn-lt"/>
                <a:ea typeface="Helvetica Neue Thin" panose="020B0403020202020204" pitchFamily="34" charset="0"/>
                <a:cs typeface="+mn-cs"/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E7A932BA-8203-CE40-9225-5F72B213BE9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5631" y="2737104"/>
            <a:ext cx="11520739" cy="684355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5B1EDA2-4030-0D42-9AF5-D5D50216965F}"/>
              </a:ext>
            </a:extLst>
          </p:cNvPr>
          <p:cNvSpPr/>
          <p:nvPr/>
        </p:nvSpPr>
        <p:spPr>
          <a:xfrm>
            <a:off x="5159688" y="6472990"/>
            <a:ext cx="1872629" cy="256545"/>
          </a:xfrm>
          <a:prstGeom prst="rect">
            <a:avLst/>
          </a:prstGeom>
        </p:spPr>
        <p:txBody>
          <a:bodyPr wrap="none" anchor="t">
            <a:spAutoFit/>
          </a:bodyPr>
          <a:lstStyle/>
          <a:p>
            <a:pPr marL="0" algn="ctr" defTabSz="609585" rtl="0" eaLnBrk="1" latinLnBrk="0" hangingPunct="1"/>
            <a:r>
              <a:rPr lang="en-US" sz="1067">
                <a:solidFill>
                  <a:schemeClr val="bg1"/>
                </a:solidFill>
              </a:rPr>
              <a:t>Confidential and Proprietary</a:t>
            </a:r>
          </a:p>
        </p:txBody>
      </p:sp>
      <p:sp>
        <p:nvSpPr>
          <p:cNvPr id="6" name="Picture Placeholder 9">
            <a:extLst>
              <a:ext uri="{FF2B5EF4-FFF2-40B4-BE49-F238E27FC236}">
                <a16:creationId xmlns:a16="http://schemas.microsoft.com/office/drawing/2014/main" id="{D3FE7116-7830-2D44-8CA0-3C3CF7941982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6869912" y="3872"/>
            <a:ext cx="5322089" cy="2508267"/>
          </a:xfrm>
          <a:prstGeom prst="rect">
            <a:avLst/>
          </a:prstGeom>
          <a:noFill/>
        </p:spPr>
        <p:txBody>
          <a:bodyPr vert="horz" lIns="1554480" tIns="0" rIns="1554480" bIns="0" rtlCol="0" anchor="ctr">
            <a:noAutofit/>
          </a:bodyPr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933" b="0" i="0" kern="1200" dirty="0">
                <a:solidFill>
                  <a:schemeClr val="bg1">
                    <a:alpha val="88000"/>
                  </a:schemeClr>
                </a:solidFill>
                <a:highlight>
                  <a:srgbClr val="80B9F9"/>
                </a:highlight>
                <a:latin typeface="+mn-lt"/>
                <a:ea typeface="Helvetica Neue Thin" panose="020B0403020202020204" pitchFamily="34" charset="0"/>
                <a:cs typeface="+mn-cs"/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  <p:sp>
        <p:nvSpPr>
          <p:cNvPr id="19" name="Slide Number Placeholder 2">
            <a:extLst>
              <a:ext uri="{FF2B5EF4-FFF2-40B4-BE49-F238E27FC236}">
                <a16:creationId xmlns:a16="http://schemas.microsoft.com/office/drawing/2014/main" id="{893591C8-6832-F846-8E75-8F1E8C660A4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bg1"/>
                </a:solidFill>
              </a:defRPr>
            </a:lvl1pPr>
          </a:lstStyle>
          <a:p>
            <a:fld id="{AD6BAA4E-5F47-E640-8B90-67FB6D90528D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813217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CONTENT WITH IMAGE_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Placeholder 27">
            <a:extLst>
              <a:ext uri="{FF2B5EF4-FFF2-40B4-BE49-F238E27FC236}">
                <a16:creationId xmlns:a16="http://schemas.microsoft.com/office/drawing/2014/main" id="{4E95861F-A4D7-7F42-92D5-7E95E1C8F2E2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5473303" y="4560341"/>
            <a:ext cx="2969159" cy="2297660"/>
          </a:xfrm>
          <a:prstGeom prst="rect">
            <a:avLst/>
          </a:prstGeom>
        </p:spPr>
      </p:pic>
      <p:sp>
        <p:nvSpPr>
          <p:cNvPr id="28" name="Picture Placeholder 4">
            <a:extLst>
              <a:ext uri="{FF2B5EF4-FFF2-40B4-BE49-F238E27FC236}">
                <a16:creationId xmlns:a16="http://schemas.microsoft.com/office/drawing/2014/main" id="{67D338AE-A10E-EE4D-A4B0-35F051949310}"/>
              </a:ext>
            </a:extLst>
          </p:cNvPr>
          <p:cNvSpPr>
            <a:spLocks noGrp="1"/>
          </p:cNvSpPr>
          <p:nvPr>
            <p:ph type="pic" sz="quarter" idx="44" hasCustomPrompt="1"/>
          </p:nvPr>
        </p:nvSpPr>
        <p:spPr>
          <a:xfrm>
            <a:off x="5471523" y="4560341"/>
            <a:ext cx="2970939" cy="2297660"/>
          </a:xfrm>
          <a:prstGeom prst="rect">
            <a:avLst/>
          </a:prstGeom>
        </p:spPr>
        <p:txBody>
          <a:bodyPr lIns="822960" rIns="822960" anchor="ctr"/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933" b="0" i="0" kern="1200">
                <a:solidFill>
                  <a:schemeClr val="bg1">
                    <a:alpha val="88000"/>
                  </a:schemeClr>
                </a:solidFill>
                <a:highlight>
                  <a:srgbClr val="80B9F9"/>
                </a:highlight>
                <a:latin typeface="+mn-lt"/>
                <a:ea typeface="Helvetica Neue Thin" panose="020B0403020202020204" pitchFamily="34" charset="0"/>
                <a:cs typeface="+mn-cs"/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  <p:pic>
        <p:nvPicPr>
          <p:cNvPr id="13" name="Picture Placeholder 62">
            <a:extLst>
              <a:ext uri="{FF2B5EF4-FFF2-40B4-BE49-F238E27FC236}">
                <a16:creationId xmlns:a16="http://schemas.microsoft.com/office/drawing/2014/main" id="{920F07E6-BC96-0146-A4E7-2B6DF0B084BA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8671405" y="261"/>
            <a:ext cx="3520596" cy="1985976"/>
          </a:xfrm>
          <a:prstGeom prst="rect">
            <a:avLst/>
          </a:prstGeom>
        </p:spPr>
      </p:pic>
      <p:pic>
        <p:nvPicPr>
          <p:cNvPr id="15" name="Picture Placeholder 15">
            <a:extLst>
              <a:ext uri="{FF2B5EF4-FFF2-40B4-BE49-F238E27FC236}">
                <a16:creationId xmlns:a16="http://schemas.microsoft.com/office/drawing/2014/main" id="{8B483E4B-AECA-3F49-A2BF-26EA791F8FC9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/>
          <a:stretch/>
        </p:blipFill>
        <p:spPr>
          <a:xfrm>
            <a:off x="5473303" y="2081841"/>
            <a:ext cx="3481647" cy="2380892"/>
          </a:xfrm>
          <a:prstGeom prst="rect">
            <a:avLst/>
          </a:prstGeom>
        </p:spPr>
      </p:pic>
      <p:pic>
        <p:nvPicPr>
          <p:cNvPr id="16" name="Picture Placeholder 56">
            <a:extLst>
              <a:ext uri="{FF2B5EF4-FFF2-40B4-BE49-F238E27FC236}">
                <a16:creationId xmlns:a16="http://schemas.microsoft.com/office/drawing/2014/main" id="{AD2873C4-F784-A444-9BC0-20F4FEFEF75F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/>
          <a:stretch/>
        </p:blipFill>
        <p:spPr>
          <a:xfrm>
            <a:off x="9067744" y="2081841"/>
            <a:ext cx="3121739" cy="2380892"/>
          </a:xfrm>
          <a:prstGeom prst="rect">
            <a:avLst/>
          </a:prstGeom>
        </p:spPr>
      </p:pic>
      <p:pic>
        <p:nvPicPr>
          <p:cNvPr id="18" name="Picture Placeholder 53">
            <a:extLst>
              <a:ext uri="{FF2B5EF4-FFF2-40B4-BE49-F238E27FC236}">
                <a16:creationId xmlns:a16="http://schemas.microsoft.com/office/drawing/2014/main" id="{91675910-5380-4243-88AD-9E1DBA617E88}"/>
              </a:ext>
            </a:extLst>
          </p:cNvPr>
          <p:cNvPicPr>
            <a:picLocks noChangeAspect="1"/>
          </p:cNvPicPr>
          <p:nvPr/>
        </p:nvPicPr>
        <p:blipFill>
          <a:blip r:embed="rId6"/>
          <a:srcRect/>
          <a:stretch/>
        </p:blipFill>
        <p:spPr>
          <a:xfrm>
            <a:off x="5472414" y="1169"/>
            <a:ext cx="3089733" cy="1984164"/>
          </a:xfrm>
          <a:prstGeom prst="rect">
            <a:avLst/>
          </a:prstGeom>
        </p:spPr>
      </p:pic>
      <p:pic>
        <p:nvPicPr>
          <p:cNvPr id="19" name="Picture Placeholder 58">
            <a:extLst>
              <a:ext uri="{FF2B5EF4-FFF2-40B4-BE49-F238E27FC236}">
                <a16:creationId xmlns:a16="http://schemas.microsoft.com/office/drawing/2014/main" id="{50511821-0395-444F-818B-B0A1957E4277}"/>
              </a:ext>
            </a:extLst>
          </p:cNvPr>
          <p:cNvPicPr>
            <a:picLocks noChangeAspect="1"/>
          </p:cNvPicPr>
          <p:nvPr/>
        </p:nvPicPr>
        <p:blipFill>
          <a:blip r:embed="rId7"/>
          <a:srcRect/>
          <a:stretch/>
        </p:blipFill>
        <p:spPr>
          <a:xfrm>
            <a:off x="8562445" y="4560341"/>
            <a:ext cx="3629257" cy="2297660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D62F1674-7D59-A04F-BCA3-D1F154AC7B57}"/>
              </a:ext>
            </a:extLst>
          </p:cNvPr>
          <p:cNvSpPr/>
          <p:nvPr/>
        </p:nvSpPr>
        <p:spPr>
          <a:xfrm>
            <a:off x="0" y="0"/>
            <a:ext cx="5363027" cy="68580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25" name="Picture Placeholder 4">
            <a:extLst>
              <a:ext uri="{FF2B5EF4-FFF2-40B4-BE49-F238E27FC236}">
                <a16:creationId xmlns:a16="http://schemas.microsoft.com/office/drawing/2014/main" id="{3B97B83D-9279-6249-A88C-B3E5835DA607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8671405" y="-1"/>
            <a:ext cx="3520596" cy="1986503"/>
          </a:xfrm>
          <a:prstGeom prst="rect">
            <a:avLst/>
          </a:prstGeom>
        </p:spPr>
        <p:txBody>
          <a:bodyPr lIns="822960" rIns="822960" anchor="ctr"/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933" b="0" i="0" kern="1200">
                <a:solidFill>
                  <a:schemeClr val="bg1">
                    <a:alpha val="88000"/>
                  </a:schemeClr>
                </a:solidFill>
                <a:highlight>
                  <a:srgbClr val="80B9F9"/>
                </a:highlight>
                <a:latin typeface="+mn-lt"/>
                <a:ea typeface="Helvetica Neue Thin" panose="020B0403020202020204" pitchFamily="34" charset="0"/>
                <a:cs typeface="+mn-cs"/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  <p:sp>
        <p:nvSpPr>
          <p:cNvPr id="26" name="Picture Placeholder 4">
            <a:extLst>
              <a:ext uri="{FF2B5EF4-FFF2-40B4-BE49-F238E27FC236}">
                <a16:creationId xmlns:a16="http://schemas.microsoft.com/office/drawing/2014/main" id="{2E58AC93-20E1-7A44-B15C-54C277AE86BA}"/>
              </a:ext>
            </a:extLst>
          </p:cNvPr>
          <p:cNvSpPr>
            <a:spLocks noGrp="1"/>
          </p:cNvSpPr>
          <p:nvPr>
            <p:ph type="pic" sz="quarter" idx="42" hasCustomPrompt="1"/>
          </p:nvPr>
        </p:nvSpPr>
        <p:spPr>
          <a:xfrm>
            <a:off x="5471523" y="2081841"/>
            <a:ext cx="3483427" cy="2380748"/>
          </a:xfrm>
          <a:prstGeom prst="rect">
            <a:avLst/>
          </a:prstGeom>
        </p:spPr>
        <p:txBody>
          <a:bodyPr lIns="822960" rIns="822960" anchor="ctr"/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933" b="0" i="0" kern="1200">
                <a:solidFill>
                  <a:schemeClr val="bg1">
                    <a:alpha val="88000"/>
                  </a:schemeClr>
                </a:solidFill>
                <a:highlight>
                  <a:srgbClr val="80B9F9"/>
                </a:highlight>
                <a:latin typeface="+mn-lt"/>
                <a:ea typeface="Helvetica Neue Thin" panose="020B0403020202020204" pitchFamily="34" charset="0"/>
                <a:cs typeface="+mn-cs"/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  <p:sp>
        <p:nvSpPr>
          <p:cNvPr id="27" name="Picture Placeholder 4">
            <a:extLst>
              <a:ext uri="{FF2B5EF4-FFF2-40B4-BE49-F238E27FC236}">
                <a16:creationId xmlns:a16="http://schemas.microsoft.com/office/drawing/2014/main" id="{7EA2B16C-99B5-8247-A6CB-5E6CD16D9803}"/>
              </a:ext>
            </a:extLst>
          </p:cNvPr>
          <p:cNvSpPr>
            <a:spLocks noGrp="1"/>
          </p:cNvSpPr>
          <p:nvPr>
            <p:ph type="pic" sz="quarter" idx="43" hasCustomPrompt="1"/>
          </p:nvPr>
        </p:nvSpPr>
        <p:spPr>
          <a:xfrm>
            <a:off x="9065227" y="2081841"/>
            <a:ext cx="3126773" cy="2380892"/>
          </a:xfrm>
          <a:prstGeom prst="rect">
            <a:avLst/>
          </a:prstGeom>
        </p:spPr>
        <p:txBody>
          <a:bodyPr lIns="822960" rIns="822960" anchor="ctr"/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933" b="0" i="0" kern="1200">
                <a:solidFill>
                  <a:schemeClr val="bg1">
                    <a:alpha val="88000"/>
                  </a:schemeClr>
                </a:solidFill>
                <a:highlight>
                  <a:srgbClr val="80B9F9"/>
                </a:highlight>
                <a:latin typeface="+mn-lt"/>
                <a:ea typeface="Helvetica Neue Thin" panose="020B0403020202020204" pitchFamily="34" charset="0"/>
                <a:cs typeface="+mn-cs"/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  <p:sp>
        <p:nvSpPr>
          <p:cNvPr id="29" name="Picture Placeholder 4">
            <a:extLst>
              <a:ext uri="{FF2B5EF4-FFF2-40B4-BE49-F238E27FC236}">
                <a16:creationId xmlns:a16="http://schemas.microsoft.com/office/drawing/2014/main" id="{7411B55D-F8F1-EE4A-B363-41D52847C93A}"/>
              </a:ext>
            </a:extLst>
          </p:cNvPr>
          <p:cNvSpPr>
            <a:spLocks noGrp="1"/>
          </p:cNvSpPr>
          <p:nvPr>
            <p:ph type="pic" sz="quarter" idx="45" hasCustomPrompt="1"/>
          </p:nvPr>
        </p:nvSpPr>
        <p:spPr>
          <a:xfrm>
            <a:off x="5472414" y="-1"/>
            <a:ext cx="3089733" cy="1986503"/>
          </a:xfrm>
          <a:prstGeom prst="rect">
            <a:avLst/>
          </a:prstGeom>
        </p:spPr>
        <p:txBody>
          <a:bodyPr lIns="822960" rIns="822960" anchor="ctr"/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933" b="0" i="0" kern="1200">
                <a:solidFill>
                  <a:schemeClr val="bg1">
                    <a:alpha val="88000"/>
                  </a:schemeClr>
                </a:solidFill>
                <a:highlight>
                  <a:srgbClr val="80B9F9"/>
                </a:highlight>
                <a:latin typeface="+mn-lt"/>
                <a:ea typeface="Helvetica Neue Thin" panose="020B0403020202020204" pitchFamily="34" charset="0"/>
                <a:cs typeface="+mn-cs"/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  <p:sp>
        <p:nvSpPr>
          <p:cNvPr id="30" name="Picture Placeholder 4">
            <a:extLst>
              <a:ext uri="{FF2B5EF4-FFF2-40B4-BE49-F238E27FC236}">
                <a16:creationId xmlns:a16="http://schemas.microsoft.com/office/drawing/2014/main" id="{E2776DAF-3DAD-2B41-AE2A-0D3BD1217E59}"/>
              </a:ext>
            </a:extLst>
          </p:cNvPr>
          <p:cNvSpPr>
            <a:spLocks noGrp="1"/>
          </p:cNvSpPr>
          <p:nvPr>
            <p:ph type="pic" sz="quarter" idx="46" hasCustomPrompt="1"/>
          </p:nvPr>
        </p:nvSpPr>
        <p:spPr>
          <a:xfrm>
            <a:off x="8562445" y="4560341"/>
            <a:ext cx="3629852" cy="2297660"/>
          </a:xfrm>
          <a:prstGeom prst="rect">
            <a:avLst/>
          </a:prstGeom>
        </p:spPr>
        <p:txBody>
          <a:bodyPr lIns="822960" rIns="822960" anchor="ctr"/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933" b="0" i="0" kern="1200">
                <a:solidFill>
                  <a:schemeClr val="bg1">
                    <a:alpha val="88000"/>
                  </a:schemeClr>
                </a:solidFill>
                <a:highlight>
                  <a:srgbClr val="80B9F9"/>
                </a:highlight>
                <a:latin typeface="+mn-lt"/>
                <a:ea typeface="Helvetica Neue Thin" panose="020B0403020202020204" pitchFamily="34" charset="0"/>
                <a:cs typeface="+mn-cs"/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61B65837-C537-E54F-B793-18EBB234E07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3395" y="2152659"/>
            <a:ext cx="4771199" cy="1276341"/>
          </a:xfrm>
        </p:spPr>
        <p:txBody>
          <a:bodyPr anchor="b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2ABF2F7-AC8A-C142-96DE-D013D17E3ADF}"/>
              </a:ext>
            </a:extLst>
          </p:cNvPr>
          <p:cNvSpPr>
            <a:spLocks noGrp="1"/>
          </p:cNvSpPr>
          <p:nvPr>
            <p:ph type="body" sz="quarter" idx="47"/>
          </p:nvPr>
        </p:nvSpPr>
        <p:spPr>
          <a:xfrm>
            <a:off x="383395" y="3429001"/>
            <a:ext cx="4771701" cy="1310217"/>
          </a:xfrm>
        </p:spPr>
        <p:txBody>
          <a:bodyPr>
            <a:normAutofit/>
          </a:bodyPr>
          <a:lstStyle>
            <a:lvl1pPr>
              <a:defRPr sz="2400">
                <a:solidFill>
                  <a:schemeClr val="bg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80404AE2-82B6-764F-BA03-10569CFA6E15}"/>
              </a:ext>
            </a:extLst>
          </p:cNvPr>
          <p:cNvSpPr/>
          <p:nvPr/>
        </p:nvSpPr>
        <p:spPr>
          <a:xfrm>
            <a:off x="5397324" y="6472990"/>
            <a:ext cx="1872629" cy="256545"/>
          </a:xfrm>
          <a:prstGeom prst="rect">
            <a:avLst/>
          </a:prstGeom>
        </p:spPr>
        <p:txBody>
          <a:bodyPr wrap="none" anchor="t">
            <a:spAutoFit/>
          </a:bodyPr>
          <a:lstStyle/>
          <a:p>
            <a:pPr marL="0" algn="ctr" defTabSz="609585" rtl="0" eaLnBrk="1" latinLnBrk="0" hangingPunct="1"/>
            <a:r>
              <a:rPr lang="en-US" sz="1067">
                <a:solidFill>
                  <a:schemeClr val="bg1"/>
                </a:solidFill>
              </a:rPr>
              <a:t>Confidential and Proprietary</a:t>
            </a:r>
          </a:p>
        </p:txBody>
      </p:sp>
      <p:sp>
        <p:nvSpPr>
          <p:cNvPr id="22" name="Slide Number Placeholder 2">
            <a:extLst>
              <a:ext uri="{FF2B5EF4-FFF2-40B4-BE49-F238E27FC236}">
                <a16:creationId xmlns:a16="http://schemas.microsoft.com/office/drawing/2014/main" id="{55B479DB-749D-FA40-87A0-FD9A3AE0633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bg1"/>
                </a:solidFill>
              </a:defRPr>
            </a:lvl1pPr>
          </a:lstStyle>
          <a:p>
            <a:fld id="{AD6BAA4E-5F47-E640-8B90-67FB6D90528D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23" name="Picture 22">
            <a:extLst>
              <a:ext uri="{FF2B5EF4-FFF2-40B4-BE49-F238E27FC236}">
                <a16:creationId xmlns:a16="http://schemas.microsoft.com/office/drawing/2014/main" id="{03EEAA65-85F7-CB4D-973B-D597BEF932E5}"/>
              </a:ext>
            </a:extLst>
          </p:cNvPr>
          <p:cNvPicPr>
            <a:picLocks noChangeAspect="1"/>
          </p:cNvPicPr>
          <p:nvPr/>
        </p:nvPicPr>
        <p:blipFill>
          <a:blip r:embed="rId8" cstate="screen">
            <a:lum bright="10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7807" y="6350767"/>
            <a:ext cx="2413101" cy="4342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596716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TITLE WITH IMAG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C83D7EA5-98CE-E64D-B4B3-616BE1827CAA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2068" y="1"/>
            <a:ext cx="12187864" cy="6881855"/>
          </a:xfrm>
          <a:prstGeom prst="rect">
            <a:avLst/>
          </a:prstGeom>
        </p:spPr>
      </p:pic>
      <p:sp>
        <p:nvSpPr>
          <p:cNvPr id="11" name="Picture Placeholder 2">
            <a:extLst>
              <a:ext uri="{FF2B5EF4-FFF2-40B4-BE49-F238E27FC236}">
                <a16:creationId xmlns:a16="http://schemas.microsoft.com/office/drawing/2014/main" id="{36C0D46A-FF4F-F44B-97EC-1F65E8FAA1BD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-1" y="0"/>
            <a:ext cx="12192001" cy="6881853"/>
          </a:xfrm>
        </p:spPr>
        <p:txBody>
          <a:bodyPr anchor="ctr"/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1467" b="0" i="0" kern="1200" dirty="0">
                <a:solidFill>
                  <a:schemeClr val="bg1"/>
                </a:solidFill>
                <a:highlight>
                  <a:srgbClr val="80B9F9"/>
                </a:highlight>
                <a:latin typeface="+mn-lt"/>
                <a:ea typeface="Helvetica Neue Thin" panose="020B0403020202020204" pitchFamily="34" charset="0"/>
                <a:cs typeface="+mn-cs"/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EA38E6B3-CCF8-8640-A59B-0289FE0B33CF}"/>
              </a:ext>
            </a:extLst>
          </p:cNvPr>
          <p:cNvSpPr/>
          <p:nvPr/>
        </p:nvSpPr>
        <p:spPr>
          <a:xfrm>
            <a:off x="-1" y="0"/>
            <a:ext cx="8914151" cy="6881853"/>
          </a:xfrm>
          <a:prstGeom prst="rect">
            <a:avLst/>
          </a:prstGeom>
          <a:gradFill>
            <a:gsLst>
              <a:gs pos="0">
                <a:srgbClr val="000021">
                  <a:alpha val="22000"/>
                </a:srgbClr>
              </a:gs>
              <a:gs pos="30000">
                <a:srgbClr val="000029">
                  <a:alpha val="31765"/>
                </a:srgbClr>
              </a:gs>
              <a:gs pos="94000">
                <a:srgbClr val="000006">
                  <a:alpha val="0"/>
                </a:srgbClr>
              </a:gs>
              <a:gs pos="80000">
                <a:srgbClr val="000000">
                  <a:alpha val="0"/>
                </a:srgbClr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9C57ACDD-F1A3-CA43-B975-2FD4D34DF444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383397" y="5024205"/>
            <a:ext cx="4584559" cy="970105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  <a:lvl2pPr>
              <a:defRPr sz="2133">
                <a:solidFill>
                  <a:schemeClr val="bg1"/>
                </a:solidFill>
              </a:defRPr>
            </a:lvl2pPr>
            <a:lvl3pPr>
              <a:defRPr sz="1867">
                <a:solidFill>
                  <a:schemeClr val="bg1"/>
                </a:solidFill>
              </a:defRPr>
            </a:lvl3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itle 12">
            <a:extLst>
              <a:ext uri="{FF2B5EF4-FFF2-40B4-BE49-F238E27FC236}">
                <a16:creationId xmlns:a16="http://schemas.microsoft.com/office/drawing/2014/main" id="{5F72D60B-4E0D-3144-A3FC-DE987F9435E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9530" y="4243074"/>
            <a:ext cx="4598425" cy="781132"/>
          </a:xfrm>
        </p:spPr>
        <p:txBody>
          <a:bodyPr/>
          <a:lstStyle>
            <a:lvl1pPr>
              <a:defRPr sz="4267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4" name="Picture 13" descr="A picture containing drawing&#10;&#10;Description automatically generated">
            <a:extLst>
              <a:ext uri="{FF2B5EF4-FFF2-40B4-BE49-F238E27FC236}">
                <a16:creationId xmlns:a16="http://schemas.microsoft.com/office/drawing/2014/main" id="{A9256E3B-9377-C949-9B42-A6BE6F70D846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9829" y="440013"/>
            <a:ext cx="4670265" cy="972972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62587AC4-D2B3-6E46-946A-0A1598A9DF1D}"/>
              </a:ext>
            </a:extLst>
          </p:cNvPr>
          <p:cNvSpPr/>
          <p:nvPr/>
        </p:nvSpPr>
        <p:spPr>
          <a:xfrm>
            <a:off x="5159688" y="6472990"/>
            <a:ext cx="1872629" cy="256545"/>
          </a:xfrm>
          <a:prstGeom prst="rect">
            <a:avLst/>
          </a:prstGeom>
        </p:spPr>
        <p:txBody>
          <a:bodyPr wrap="none" anchor="t">
            <a:spAutoFit/>
          </a:bodyPr>
          <a:lstStyle/>
          <a:p>
            <a:pPr marL="0" algn="ctr" defTabSz="609585" rtl="0" eaLnBrk="1" latinLnBrk="0" hangingPunct="1"/>
            <a:r>
              <a:rPr lang="en-US" sz="1067">
                <a:solidFill>
                  <a:schemeClr val="bg1"/>
                </a:solidFill>
              </a:rPr>
              <a:t>Confidential and Proprietary</a:t>
            </a:r>
          </a:p>
        </p:txBody>
      </p:sp>
      <p:sp>
        <p:nvSpPr>
          <p:cNvPr id="15" name="Slide Number Placeholder 2">
            <a:extLst>
              <a:ext uri="{FF2B5EF4-FFF2-40B4-BE49-F238E27FC236}">
                <a16:creationId xmlns:a16="http://schemas.microsoft.com/office/drawing/2014/main" id="{DFF4516F-7E2F-9146-99E8-85581F25DBE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tx1">
                    <a:lumMod val="50000"/>
                  </a:schemeClr>
                </a:solidFill>
              </a:defRPr>
            </a:lvl1pPr>
          </a:lstStyle>
          <a:p>
            <a:fld id="{AD6BAA4E-5F47-E640-8B90-67FB6D90528D}" type="slidenum">
              <a:rPr lang="en-US" smtClean="0"/>
              <a:pPr/>
              <a:t>‹#›</a:t>
            </a:fld>
            <a:endParaRPr lang="en-US"/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3FD9E935-6C96-2E40-AB69-333E4FD66CF1}"/>
              </a:ext>
            </a:extLst>
          </p:cNvPr>
          <p:cNvGrpSpPr/>
          <p:nvPr/>
        </p:nvGrpSpPr>
        <p:grpSpPr>
          <a:xfrm>
            <a:off x="10672234" y="6392334"/>
            <a:ext cx="1150623" cy="385495"/>
            <a:chOff x="8004175" y="4794250"/>
            <a:chExt cx="862967" cy="289121"/>
          </a:xfrm>
        </p:grpSpPr>
        <p:pic>
          <p:nvPicPr>
            <p:cNvPr id="21" name="Picture 20" descr="A close up of a sign&#10;&#10;Description automatically generated">
              <a:extLst>
                <a:ext uri="{FF2B5EF4-FFF2-40B4-BE49-F238E27FC236}">
                  <a16:creationId xmlns:a16="http://schemas.microsoft.com/office/drawing/2014/main" id="{F2FAFCE8-1275-CD41-AA2B-27D5E751BBF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l="21996"/>
            <a:stretch/>
          </p:blipFill>
          <p:spPr>
            <a:xfrm>
              <a:off x="8191500" y="4794250"/>
              <a:ext cx="675642" cy="289121"/>
            </a:xfrm>
            <a:prstGeom prst="rect">
              <a:avLst/>
            </a:prstGeom>
          </p:spPr>
        </p:pic>
        <p:pic>
          <p:nvPicPr>
            <p:cNvPr id="22" name="Picture 21" descr="A close up of a sign&#10;&#10;Description automatically generated">
              <a:extLst>
                <a:ext uri="{FF2B5EF4-FFF2-40B4-BE49-F238E27FC236}">
                  <a16:creationId xmlns:a16="http://schemas.microsoft.com/office/drawing/2014/main" id="{8AEB0431-1410-1E46-99A9-478A7A78FE4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l="369" r="78004"/>
            <a:stretch/>
          </p:blipFill>
          <p:spPr>
            <a:xfrm>
              <a:off x="8004175" y="4794250"/>
              <a:ext cx="187325" cy="28912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087170737"/>
      </p:ext>
    </p:extLst>
  </p:cSld>
  <p:clrMapOvr>
    <a:masterClrMapping/>
  </p:clrMapOvr>
  <p:transition>
    <p:fade/>
  </p:transition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_TITLE WITH IMAG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C83D7EA5-98CE-E64D-B4B3-616BE1827CAA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" t="654" r="599"/>
          <a:stretch/>
        </p:blipFill>
        <p:spPr>
          <a:xfrm>
            <a:off x="6664" y="0"/>
            <a:ext cx="12185337" cy="6858000"/>
          </a:xfrm>
          <a:prstGeom prst="rect">
            <a:avLst/>
          </a:prstGeom>
        </p:spPr>
      </p:pic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B49B2337-3EE0-1643-8E16-46563C65FE81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0" y="0"/>
            <a:ext cx="12192000" cy="6858000"/>
          </a:xfrm>
        </p:spPr>
        <p:txBody>
          <a:bodyPr anchor="ctr"/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1467" b="0" i="0" kern="1200" dirty="0">
                <a:solidFill>
                  <a:schemeClr val="bg1"/>
                </a:solidFill>
                <a:highlight>
                  <a:srgbClr val="80B9F9"/>
                </a:highlight>
                <a:latin typeface="+mn-lt"/>
                <a:ea typeface="Helvetica Neue Thin" panose="020B0403020202020204" pitchFamily="34" charset="0"/>
                <a:cs typeface="+mn-cs"/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EA38E6B3-CCF8-8640-A59B-0289FE0B33CF}"/>
              </a:ext>
            </a:extLst>
          </p:cNvPr>
          <p:cNvSpPr/>
          <p:nvPr/>
        </p:nvSpPr>
        <p:spPr>
          <a:xfrm>
            <a:off x="1" y="0"/>
            <a:ext cx="4223657" cy="6858000"/>
          </a:xfrm>
          <a:prstGeom prst="rect">
            <a:avLst/>
          </a:prstGeom>
          <a:gradFill>
            <a:gsLst>
              <a:gs pos="2655">
                <a:srgbClr val="000000">
                  <a:alpha val="57000"/>
                  <a:lumMod val="32000"/>
                </a:srgbClr>
              </a:gs>
              <a:gs pos="66000">
                <a:srgbClr val="000000">
                  <a:alpha val="17000"/>
                </a:srgbClr>
              </a:gs>
              <a:gs pos="100000">
                <a:srgbClr val="000000">
                  <a:alpha val="0"/>
                </a:srgbClr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9C57ACDD-F1A3-CA43-B975-2FD4D34DF444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383396" y="4646434"/>
            <a:ext cx="5555264" cy="970105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  <a:lvl2pPr>
              <a:defRPr sz="2133">
                <a:solidFill>
                  <a:schemeClr val="bg1"/>
                </a:solidFill>
              </a:defRPr>
            </a:lvl2pPr>
            <a:lvl3pPr>
              <a:defRPr sz="1867">
                <a:solidFill>
                  <a:schemeClr val="bg1"/>
                </a:solidFill>
              </a:defRPr>
            </a:lvl3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itle 12">
            <a:extLst>
              <a:ext uri="{FF2B5EF4-FFF2-40B4-BE49-F238E27FC236}">
                <a16:creationId xmlns:a16="http://schemas.microsoft.com/office/drawing/2014/main" id="{5F72D60B-4E0D-3144-A3FC-DE987F9435E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9531" y="3865303"/>
            <a:ext cx="5555264" cy="781132"/>
          </a:xfrm>
        </p:spPr>
        <p:txBody>
          <a:bodyPr/>
          <a:lstStyle>
            <a:lvl1pPr>
              <a:defRPr sz="4267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4" name="Picture 13" descr="A picture containing drawing&#10;&#10;Description automatically generated">
            <a:extLst>
              <a:ext uri="{FF2B5EF4-FFF2-40B4-BE49-F238E27FC236}">
                <a16:creationId xmlns:a16="http://schemas.microsoft.com/office/drawing/2014/main" id="{A9256E3B-9377-C949-9B42-A6BE6F70D846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9829" y="440013"/>
            <a:ext cx="3882319" cy="808816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01082669-5DFC-D24F-A61B-A16E67B49C16}"/>
              </a:ext>
            </a:extLst>
          </p:cNvPr>
          <p:cNvSpPr/>
          <p:nvPr/>
        </p:nvSpPr>
        <p:spPr>
          <a:xfrm>
            <a:off x="5159688" y="6472990"/>
            <a:ext cx="1872629" cy="256545"/>
          </a:xfrm>
          <a:prstGeom prst="rect">
            <a:avLst/>
          </a:prstGeom>
        </p:spPr>
        <p:txBody>
          <a:bodyPr wrap="none" anchor="t">
            <a:spAutoFit/>
          </a:bodyPr>
          <a:lstStyle/>
          <a:p>
            <a:pPr marL="0" algn="ctr" defTabSz="609585" rtl="0" eaLnBrk="1" latinLnBrk="0" hangingPunct="1"/>
            <a:r>
              <a:rPr lang="en-US" sz="1067">
                <a:solidFill>
                  <a:schemeClr val="bg1"/>
                </a:solidFill>
              </a:rPr>
              <a:t>Confidential and Proprietary</a:t>
            </a:r>
          </a:p>
        </p:txBody>
      </p:sp>
      <p:sp>
        <p:nvSpPr>
          <p:cNvPr id="12" name="Slide Number Placeholder 2">
            <a:extLst>
              <a:ext uri="{FF2B5EF4-FFF2-40B4-BE49-F238E27FC236}">
                <a16:creationId xmlns:a16="http://schemas.microsoft.com/office/drawing/2014/main" id="{0E4C6C89-79F5-924D-ABA0-B65743A1C3C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bg1"/>
                </a:solidFill>
              </a:defRPr>
            </a:lvl1pPr>
          </a:lstStyle>
          <a:p>
            <a:fld id="{AD6BAA4E-5F47-E640-8B90-67FB6D90528D}" type="slidenum">
              <a:rPr lang="en-US" smtClean="0"/>
              <a:pPr/>
              <a:t>‹#›</a:t>
            </a:fld>
            <a:endParaRPr lang="en-US"/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C4CB7010-5F35-3740-B1BD-EB4E7C056525}"/>
              </a:ext>
            </a:extLst>
          </p:cNvPr>
          <p:cNvGrpSpPr/>
          <p:nvPr/>
        </p:nvGrpSpPr>
        <p:grpSpPr>
          <a:xfrm>
            <a:off x="10672234" y="6392334"/>
            <a:ext cx="1150623" cy="385495"/>
            <a:chOff x="8004175" y="4794250"/>
            <a:chExt cx="862967" cy="289121"/>
          </a:xfrm>
        </p:grpSpPr>
        <p:pic>
          <p:nvPicPr>
            <p:cNvPr id="20" name="Picture 19" descr="A close up of a sign&#10;&#10;Description automatically generated">
              <a:extLst>
                <a:ext uri="{FF2B5EF4-FFF2-40B4-BE49-F238E27FC236}">
                  <a16:creationId xmlns:a16="http://schemas.microsoft.com/office/drawing/2014/main" id="{98388606-6202-6E49-B63F-B5F5DF04188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l="21996"/>
            <a:stretch/>
          </p:blipFill>
          <p:spPr>
            <a:xfrm>
              <a:off x="8191500" y="4794250"/>
              <a:ext cx="675642" cy="289121"/>
            </a:xfrm>
            <a:prstGeom prst="rect">
              <a:avLst/>
            </a:prstGeom>
          </p:spPr>
        </p:pic>
        <p:pic>
          <p:nvPicPr>
            <p:cNvPr id="21" name="Picture 20" descr="A close up of a sign&#10;&#10;Description automatically generated">
              <a:extLst>
                <a:ext uri="{FF2B5EF4-FFF2-40B4-BE49-F238E27FC236}">
                  <a16:creationId xmlns:a16="http://schemas.microsoft.com/office/drawing/2014/main" id="{3BFB5C9A-B671-914C-A0F0-29355FBFDC0F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l="369" r="78004"/>
            <a:stretch/>
          </p:blipFill>
          <p:spPr>
            <a:xfrm>
              <a:off x="8004175" y="4794250"/>
              <a:ext cx="187325" cy="28912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935399354"/>
      </p:ext>
    </p:extLst>
  </p:cSld>
  <p:clrMapOvr>
    <a:masterClrMapping/>
  </p:clrMapOvr>
  <p:transition>
    <p:fade/>
  </p:transition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_1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18" descr="A person posing for the camera&#10;&#10;Description automatically generated">
            <a:extLst>
              <a:ext uri="{FF2B5EF4-FFF2-40B4-BE49-F238E27FC236}">
                <a16:creationId xmlns:a16="http://schemas.microsoft.com/office/drawing/2014/main" id="{47E97DF5-D64A-074B-BC19-985198FEED57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716" r="1420" b="611"/>
          <a:stretch/>
        </p:blipFill>
        <p:spPr>
          <a:xfrm>
            <a:off x="1" y="-1"/>
            <a:ext cx="12192000" cy="6858001"/>
          </a:xfrm>
          <a:prstGeom prst="rect">
            <a:avLst/>
          </a:prstGeom>
        </p:spPr>
      </p:pic>
      <p:pic>
        <p:nvPicPr>
          <p:cNvPr id="15" name="Picture 14" descr="A picture containing grass, outdoor, water, sitting&#10;&#10;Description automatically generated">
            <a:extLst>
              <a:ext uri="{FF2B5EF4-FFF2-40B4-BE49-F238E27FC236}">
                <a16:creationId xmlns:a16="http://schemas.microsoft.com/office/drawing/2014/main" id="{AA7BE32E-A7F4-7640-A94B-6A8C6951BFDE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0729" t="1" r="66596" b="-1"/>
          <a:stretch/>
        </p:blipFill>
        <p:spPr>
          <a:xfrm>
            <a:off x="1" y="-1"/>
            <a:ext cx="2763251" cy="6858001"/>
          </a:xfrm>
          <a:prstGeom prst="rect">
            <a:avLst/>
          </a:prstGeom>
        </p:spPr>
      </p:pic>
      <p:sp>
        <p:nvSpPr>
          <p:cNvPr id="30" name="Rectangle 29">
            <a:extLst>
              <a:ext uri="{FF2B5EF4-FFF2-40B4-BE49-F238E27FC236}">
                <a16:creationId xmlns:a16="http://schemas.microsoft.com/office/drawing/2014/main" id="{F6AE2D78-5EF4-E243-84C9-A76DF898C39A}"/>
              </a:ext>
            </a:extLst>
          </p:cNvPr>
          <p:cNvSpPr/>
          <p:nvPr/>
        </p:nvSpPr>
        <p:spPr>
          <a:xfrm>
            <a:off x="5159688" y="6472990"/>
            <a:ext cx="1872629" cy="25654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067">
                <a:solidFill>
                  <a:schemeClr val="bg1"/>
                </a:solidFill>
              </a:rPr>
              <a:t>Confidential and Proprietary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36F02EFB-289E-7642-8DAC-165C9DE11D8D}"/>
              </a:ext>
            </a:extLst>
          </p:cNvPr>
          <p:cNvSpPr/>
          <p:nvPr/>
        </p:nvSpPr>
        <p:spPr>
          <a:xfrm>
            <a:off x="3133215" y="4373397"/>
            <a:ext cx="9058787" cy="2097987"/>
          </a:xfrm>
          <a:prstGeom prst="rect">
            <a:avLst/>
          </a:prstGeom>
          <a:solidFill>
            <a:srgbClr val="000000">
              <a:alpha val="47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7AFFE582-C223-B348-A577-615CF556974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58392" y="4672422"/>
            <a:ext cx="8623680" cy="1177609"/>
          </a:xfrm>
        </p:spPr>
        <p:txBody>
          <a:bodyPr anchor="t"/>
          <a:lstStyle>
            <a:lvl1pPr algn="l">
              <a:defRPr sz="4267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</a:t>
            </a:r>
            <a:br>
              <a:rPr lang="en-US"/>
            </a:br>
            <a:r>
              <a:rPr lang="en-US"/>
              <a:t>Cover text styles</a:t>
            </a:r>
          </a:p>
        </p:txBody>
      </p:sp>
      <p:sp>
        <p:nvSpPr>
          <p:cNvPr id="16" name="Text Placeholder 25">
            <a:extLst>
              <a:ext uri="{FF2B5EF4-FFF2-40B4-BE49-F238E27FC236}">
                <a16:creationId xmlns:a16="http://schemas.microsoft.com/office/drawing/2014/main" id="{0E5358A2-E924-314E-A65D-9C8B987C2A7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358107" y="5874717"/>
            <a:ext cx="8623680" cy="333259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defRPr sz="1467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Cover</a:t>
            </a:r>
          </a:p>
        </p:txBody>
      </p:sp>
      <p:grpSp>
        <p:nvGrpSpPr>
          <p:cNvPr id="29" name="Group 28">
            <a:extLst>
              <a:ext uri="{FF2B5EF4-FFF2-40B4-BE49-F238E27FC236}">
                <a16:creationId xmlns:a16="http://schemas.microsoft.com/office/drawing/2014/main" id="{BE07847B-254E-6B4F-86E9-078342B266F0}"/>
              </a:ext>
            </a:extLst>
          </p:cNvPr>
          <p:cNvGrpSpPr/>
          <p:nvPr/>
        </p:nvGrpSpPr>
        <p:grpSpPr>
          <a:xfrm>
            <a:off x="380381" y="5836618"/>
            <a:ext cx="1973352" cy="661135"/>
            <a:chOff x="8004175" y="4794250"/>
            <a:chExt cx="862967" cy="289121"/>
          </a:xfrm>
        </p:grpSpPr>
        <p:pic>
          <p:nvPicPr>
            <p:cNvPr id="31" name="Picture 30" descr="A close up of a sign&#10;&#10;Description automatically generated">
              <a:extLst>
                <a:ext uri="{FF2B5EF4-FFF2-40B4-BE49-F238E27FC236}">
                  <a16:creationId xmlns:a16="http://schemas.microsoft.com/office/drawing/2014/main" id="{7E565A62-A12C-7340-8D60-E44FB1E20FF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brightnessContrast bright="100000"/>
                      </a14:imgEffect>
                    </a14:imgLayer>
                  </a14:imgProps>
                </a:ext>
              </a:extLst>
            </a:blip>
            <a:srcRect l="21996"/>
            <a:stretch/>
          </p:blipFill>
          <p:spPr>
            <a:xfrm>
              <a:off x="8191500" y="4794250"/>
              <a:ext cx="675642" cy="289121"/>
            </a:xfrm>
            <a:prstGeom prst="rect">
              <a:avLst/>
            </a:prstGeom>
          </p:spPr>
        </p:pic>
        <p:pic>
          <p:nvPicPr>
            <p:cNvPr id="32" name="Picture 31" descr="A close up of a sign&#10;&#10;Description automatically generated">
              <a:extLst>
                <a:ext uri="{FF2B5EF4-FFF2-40B4-BE49-F238E27FC236}">
                  <a16:creationId xmlns:a16="http://schemas.microsoft.com/office/drawing/2014/main" id="{43FE7547-9987-0A4C-8FDF-FE14E480070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/>
            <a:srcRect l="369" r="78004"/>
            <a:stretch/>
          </p:blipFill>
          <p:spPr>
            <a:xfrm>
              <a:off x="8004175" y="4794250"/>
              <a:ext cx="187325" cy="289121"/>
            </a:xfrm>
            <a:prstGeom prst="rect">
              <a:avLst/>
            </a:prstGeom>
          </p:spPr>
        </p:pic>
      </p:grpSp>
      <p:pic>
        <p:nvPicPr>
          <p:cNvPr id="35" name="Picture 34" descr="A picture containing drawing&#10;&#10;Description automatically generated">
            <a:extLst>
              <a:ext uri="{FF2B5EF4-FFF2-40B4-BE49-F238E27FC236}">
                <a16:creationId xmlns:a16="http://schemas.microsoft.com/office/drawing/2014/main" id="{94DE2FD7-EC0D-484A-AE3F-B2A4EFA49E80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1915" y="396961"/>
            <a:ext cx="5862636" cy="12213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82916151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312">
          <p15:clr>
            <a:srgbClr val="FBAE40"/>
          </p15:clr>
        </p15:guide>
        <p15:guide id="2" pos="2880">
          <p15:clr>
            <a:srgbClr val="FBAE40"/>
          </p15:clr>
        </p15:guide>
        <p15:guide id="3" orient="horz" pos="3120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_2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 descr="A picture containing grass, outdoor, water, sitting&#10;&#10;Description automatically generated">
            <a:extLst>
              <a:ext uri="{FF2B5EF4-FFF2-40B4-BE49-F238E27FC236}">
                <a16:creationId xmlns:a16="http://schemas.microsoft.com/office/drawing/2014/main" id="{8469342F-1A79-134C-8801-08A37CF3ADF4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59902" t="36269" r="-1" b="3628"/>
          <a:stretch/>
        </p:blipFill>
        <p:spPr>
          <a:xfrm>
            <a:off x="0" y="-1"/>
            <a:ext cx="8130496" cy="6858001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46B52285-243B-6342-819B-33E36580B45E}"/>
              </a:ext>
            </a:extLst>
          </p:cNvPr>
          <p:cNvSpPr/>
          <p:nvPr/>
        </p:nvSpPr>
        <p:spPr>
          <a:xfrm rot="16200000">
            <a:off x="2783239" y="-649067"/>
            <a:ext cx="2743200" cy="8309677"/>
          </a:xfrm>
          <a:prstGeom prst="rect">
            <a:avLst/>
          </a:prstGeom>
          <a:solidFill>
            <a:srgbClr val="000000">
              <a:alpha val="47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880"/>
          </a:p>
        </p:txBody>
      </p:sp>
      <p:pic>
        <p:nvPicPr>
          <p:cNvPr id="14" name="Picture 13" descr="A picture containing drawing&#10;&#10;Description automatically generated">
            <a:extLst>
              <a:ext uri="{FF2B5EF4-FFF2-40B4-BE49-F238E27FC236}">
                <a16:creationId xmlns:a16="http://schemas.microsoft.com/office/drawing/2014/main" id="{80D211F2-05B3-034E-B1C2-9F8DA5FDD13D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9829" y="440013"/>
            <a:ext cx="3882319" cy="808816"/>
          </a:xfrm>
          <a:prstGeom prst="rect">
            <a:avLst/>
          </a:prstGeom>
        </p:spPr>
      </p:pic>
      <p:sp>
        <p:nvSpPr>
          <p:cNvPr id="26" name="Rectangle 25">
            <a:extLst>
              <a:ext uri="{FF2B5EF4-FFF2-40B4-BE49-F238E27FC236}">
                <a16:creationId xmlns:a16="http://schemas.microsoft.com/office/drawing/2014/main" id="{D842B18D-C2CA-2D48-ACF3-F2641DE00CE4}"/>
              </a:ext>
            </a:extLst>
          </p:cNvPr>
          <p:cNvSpPr/>
          <p:nvPr/>
        </p:nvSpPr>
        <p:spPr>
          <a:xfrm>
            <a:off x="5159687" y="6472990"/>
            <a:ext cx="1872629" cy="25654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ctr"/>
            <a:r>
              <a:rPr lang="en-US" sz="1067">
                <a:solidFill>
                  <a:schemeClr val="bg1"/>
                </a:solidFill>
              </a:rPr>
              <a:t>Confidential and Proprietary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4F6E87B0-E7C3-5341-B422-DA3DBE330E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8287" y="2323254"/>
            <a:ext cx="7474291" cy="1611085"/>
          </a:xfrm>
        </p:spPr>
        <p:txBody>
          <a:bodyPr anchor="t"/>
          <a:lstStyle>
            <a:lvl1pPr algn="l">
              <a:defRPr sz="5333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</a:t>
            </a:r>
            <a:br>
              <a:rPr lang="en-US"/>
            </a:br>
            <a:r>
              <a:rPr lang="en-US"/>
              <a:t>Template Cover</a:t>
            </a:r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84221092-4856-1C47-9579-85175845D8D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08000" y="3972048"/>
            <a:ext cx="7474576" cy="501651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defRPr sz="1867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Cover text styles</a:t>
            </a:r>
          </a:p>
        </p:txBody>
      </p:sp>
      <p:pic>
        <p:nvPicPr>
          <p:cNvPr id="15" name="Picture 14" descr="A person posing for the camera&#10;&#10;Description automatically generated">
            <a:extLst>
              <a:ext uri="{FF2B5EF4-FFF2-40B4-BE49-F238E27FC236}">
                <a16:creationId xmlns:a16="http://schemas.microsoft.com/office/drawing/2014/main" id="{6F1D611C-D51B-6046-AA23-8E02135F44FD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/>
          <a:stretch/>
        </p:blipFill>
        <p:spPr>
          <a:xfrm>
            <a:off x="7982761" y="-1"/>
            <a:ext cx="4209057" cy="6858001"/>
          </a:xfrm>
          <a:prstGeom prst="rect">
            <a:avLst/>
          </a:prstGeom>
        </p:spPr>
      </p:pic>
      <p:grpSp>
        <p:nvGrpSpPr>
          <p:cNvPr id="23" name="Group 22">
            <a:extLst>
              <a:ext uri="{FF2B5EF4-FFF2-40B4-BE49-F238E27FC236}">
                <a16:creationId xmlns:a16="http://schemas.microsoft.com/office/drawing/2014/main" id="{C03B6C7C-9424-6946-AC2B-0B596FEFFBB9}"/>
              </a:ext>
            </a:extLst>
          </p:cNvPr>
          <p:cNvGrpSpPr/>
          <p:nvPr/>
        </p:nvGrpSpPr>
        <p:grpSpPr>
          <a:xfrm>
            <a:off x="380381" y="5836618"/>
            <a:ext cx="1973352" cy="661135"/>
            <a:chOff x="8004175" y="4794250"/>
            <a:chExt cx="862967" cy="289121"/>
          </a:xfrm>
        </p:grpSpPr>
        <p:pic>
          <p:nvPicPr>
            <p:cNvPr id="24" name="Picture 23" descr="A close up of a sign&#10;&#10;Description automatically generated">
              <a:extLst>
                <a:ext uri="{FF2B5EF4-FFF2-40B4-BE49-F238E27FC236}">
                  <a16:creationId xmlns:a16="http://schemas.microsoft.com/office/drawing/2014/main" id="{06A0DB2B-F49F-1B41-94B9-069E4C7BFF7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brightnessContrast bright="100000"/>
                      </a14:imgEffect>
                    </a14:imgLayer>
                  </a14:imgProps>
                </a:ext>
              </a:extLst>
            </a:blip>
            <a:srcRect l="21996"/>
            <a:stretch/>
          </p:blipFill>
          <p:spPr>
            <a:xfrm>
              <a:off x="8191500" y="4794250"/>
              <a:ext cx="675642" cy="289121"/>
            </a:xfrm>
            <a:prstGeom prst="rect">
              <a:avLst/>
            </a:prstGeom>
          </p:spPr>
        </p:pic>
        <p:pic>
          <p:nvPicPr>
            <p:cNvPr id="25" name="Picture 24" descr="A close up of a sign&#10;&#10;Description automatically generated">
              <a:extLst>
                <a:ext uri="{FF2B5EF4-FFF2-40B4-BE49-F238E27FC236}">
                  <a16:creationId xmlns:a16="http://schemas.microsoft.com/office/drawing/2014/main" id="{7DC04133-4B73-9247-BE6C-8FBF9807CF5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/>
            <a:srcRect l="369" r="78004"/>
            <a:stretch/>
          </p:blipFill>
          <p:spPr>
            <a:xfrm>
              <a:off x="8004175" y="4794250"/>
              <a:ext cx="187325" cy="28912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923660727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5527">
          <p15:clr>
            <a:srgbClr val="FBAE40"/>
          </p15:clr>
        </p15:guide>
        <p15:guide id="2" pos="312">
          <p15:clr>
            <a:srgbClr val="FBAE40"/>
          </p15:clr>
        </p15:guide>
        <p15:guide id="3" orient="horz" pos="3108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picture containing grass, outdoor, water, sitting&#10;&#10;Description automatically generated">
            <a:extLst>
              <a:ext uri="{FF2B5EF4-FFF2-40B4-BE49-F238E27FC236}">
                <a16:creationId xmlns:a16="http://schemas.microsoft.com/office/drawing/2014/main" id="{9FE5FD23-F866-2047-982E-CBFDD51EC5A7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2784" y="0"/>
            <a:ext cx="12186427" cy="6858000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384AA5E1-97F7-F94D-A2BC-C8D84C968135}"/>
              </a:ext>
            </a:extLst>
          </p:cNvPr>
          <p:cNvSpPr/>
          <p:nvPr/>
        </p:nvSpPr>
        <p:spPr>
          <a:xfrm>
            <a:off x="1" y="2380007"/>
            <a:ext cx="9078137" cy="2097987"/>
          </a:xfrm>
          <a:prstGeom prst="rect">
            <a:avLst/>
          </a:prstGeom>
          <a:solidFill>
            <a:srgbClr val="000000">
              <a:alpha val="47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930C2FE8-CBEA-DF43-850F-002BBF4C0D0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6903" y="2581166"/>
            <a:ext cx="8584331" cy="1695669"/>
          </a:xfrm>
        </p:spPr>
        <p:txBody>
          <a:bodyPr anchor="ctr"/>
          <a:lstStyle>
            <a:lvl1pPr algn="l">
              <a:defRPr sz="4267" b="1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5E2CF6DA-9596-9045-844D-C6A891DC4116}"/>
              </a:ext>
            </a:extLst>
          </p:cNvPr>
          <p:cNvSpPr/>
          <p:nvPr/>
        </p:nvSpPr>
        <p:spPr>
          <a:xfrm>
            <a:off x="5159688" y="6472990"/>
            <a:ext cx="1872629" cy="25654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067">
                <a:solidFill>
                  <a:schemeClr val="bg1"/>
                </a:solidFill>
              </a:rPr>
              <a:t>Confidential and Proprietary</a:t>
            </a:r>
          </a:p>
        </p:txBody>
      </p:sp>
      <p:pic>
        <p:nvPicPr>
          <p:cNvPr id="9" name="Picture 8" descr="A picture containing drawing&#10;&#10;Description automatically generated">
            <a:extLst>
              <a:ext uri="{FF2B5EF4-FFF2-40B4-BE49-F238E27FC236}">
                <a16:creationId xmlns:a16="http://schemas.microsoft.com/office/drawing/2014/main" id="{15E99D37-7C2D-2444-94FB-B37BD01E0083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9829" y="440013"/>
            <a:ext cx="3882319" cy="808816"/>
          </a:xfrm>
          <a:prstGeom prst="rect">
            <a:avLst/>
          </a:prstGeom>
        </p:spPr>
      </p:pic>
      <p:grpSp>
        <p:nvGrpSpPr>
          <p:cNvPr id="17" name="Group 16">
            <a:extLst>
              <a:ext uri="{FF2B5EF4-FFF2-40B4-BE49-F238E27FC236}">
                <a16:creationId xmlns:a16="http://schemas.microsoft.com/office/drawing/2014/main" id="{DA33CC34-6B8A-DA4F-9623-4C5D8D409B83}"/>
              </a:ext>
            </a:extLst>
          </p:cNvPr>
          <p:cNvGrpSpPr/>
          <p:nvPr/>
        </p:nvGrpSpPr>
        <p:grpSpPr>
          <a:xfrm>
            <a:off x="380381" y="5836618"/>
            <a:ext cx="1973352" cy="661135"/>
            <a:chOff x="8004175" y="4794250"/>
            <a:chExt cx="862967" cy="289121"/>
          </a:xfrm>
        </p:grpSpPr>
        <p:pic>
          <p:nvPicPr>
            <p:cNvPr id="18" name="Picture 17" descr="A close up of a sign&#10;&#10;Description automatically generated">
              <a:extLst>
                <a:ext uri="{FF2B5EF4-FFF2-40B4-BE49-F238E27FC236}">
                  <a16:creationId xmlns:a16="http://schemas.microsoft.com/office/drawing/2014/main" id="{0C2C2C52-AC0B-5A4D-BC8A-933D5187FB0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brightnessContrast bright="100000"/>
                      </a14:imgEffect>
                    </a14:imgLayer>
                  </a14:imgProps>
                </a:ext>
              </a:extLst>
            </a:blip>
            <a:srcRect l="21996"/>
            <a:stretch/>
          </p:blipFill>
          <p:spPr>
            <a:xfrm>
              <a:off x="8191500" y="4794250"/>
              <a:ext cx="675642" cy="289121"/>
            </a:xfrm>
            <a:prstGeom prst="rect">
              <a:avLst/>
            </a:prstGeom>
          </p:spPr>
        </p:pic>
        <p:pic>
          <p:nvPicPr>
            <p:cNvPr id="19" name="Picture 18" descr="A close up of a sign&#10;&#10;Description automatically generated">
              <a:extLst>
                <a:ext uri="{FF2B5EF4-FFF2-40B4-BE49-F238E27FC236}">
                  <a16:creationId xmlns:a16="http://schemas.microsoft.com/office/drawing/2014/main" id="{5CD8C690-C9BF-B84B-89BD-88CB3B5FA23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/>
            <a:srcRect l="369" r="78004"/>
            <a:stretch/>
          </p:blipFill>
          <p:spPr>
            <a:xfrm>
              <a:off x="8004175" y="4794250"/>
              <a:ext cx="187325" cy="28912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492946313"/>
      </p:ext>
    </p:extLst>
  </p:cSld>
  <p:clrMapOvr>
    <a:masterClrMapping/>
  </p:clrMapOvr>
  <p:transition>
    <p:fade/>
  </p:transition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person posing for the camera&#10;&#10;Description automatically generated">
            <a:extLst>
              <a:ext uri="{FF2B5EF4-FFF2-40B4-BE49-F238E27FC236}">
                <a16:creationId xmlns:a16="http://schemas.microsoft.com/office/drawing/2014/main" id="{58ECE4B3-5DA4-F849-902C-D5DBD0601623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538" t="492" r="538" b="492"/>
          <a:stretch/>
        </p:blipFill>
        <p:spPr>
          <a:xfrm>
            <a:off x="1" y="0"/>
            <a:ext cx="12192000" cy="6858000"/>
          </a:xfrm>
          <a:prstGeom prst="rect">
            <a:avLst/>
          </a:prstGeom>
        </p:spPr>
      </p:pic>
      <p:sp>
        <p:nvSpPr>
          <p:cNvPr id="15" name="Rectangle 14">
            <a:extLst>
              <a:ext uri="{FF2B5EF4-FFF2-40B4-BE49-F238E27FC236}">
                <a16:creationId xmlns:a16="http://schemas.microsoft.com/office/drawing/2014/main" id="{BA7B8AF8-99B8-DE46-AC24-8E239E5915AC}"/>
              </a:ext>
            </a:extLst>
          </p:cNvPr>
          <p:cNvSpPr/>
          <p:nvPr/>
        </p:nvSpPr>
        <p:spPr>
          <a:xfrm rot="16200000">
            <a:off x="646557" y="-646555"/>
            <a:ext cx="6857999" cy="8151109"/>
          </a:xfrm>
          <a:prstGeom prst="rect">
            <a:avLst/>
          </a:prstGeom>
          <a:gradFill>
            <a:gsLst>
              <a:gs pos="33000">
                <a:srgbClr val="000000">
                  <a:alpha val="0"/>
                </a:srgbClr>
              </a:gs>
              <a:gs pos="66000">
                <a:srgbClr val="000000">
                  <a:alpha val="0"/>
                </a:srgbClr>
              </a:gs>
              <a:gs pos="99000">
                <a:srgbClr val="000000">
                  <a:alpha val="37000"/>
                </a:srgbClr>
              </a:gs>
            </a:gsLst>
            <a:lin ang="168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88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6C149C32-3944-AA4B-9E2F-FA75C6C795DA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3251" t="-1" r="1175" b="3269"/>
          <a:stretch/>
        </p:blipFill>
        <p:spPr>
          <a:xfrm>
            <a:off x="0" y="3858291"/>
            <a:ext cx="7071909" cy="1699244"/>
          </a:xfrm>
          <a:prstGeom prst="rect">
            <a:avLst/>
          </a:prstGeom>
        </p:spPr>
      </p:pic>
      <p:sp>
        <p:nvSpPr>
          <p:cNvPr id="21" name="Rectangle 20">
            <a:extLst>
              <a:ext uri="{FF2B5EF4-FFF2-40B4-BE49-F238E27FC236}">
                <a16:creationId xmlns:a16="http://schemas.microsoft.com/office/drawing/2014/main" id="{60987177-7E2F-2F4C-9CAC-C2DE2235448C}"/>
              </a:ext>
            </a:extLst>
          </p:cNvPr>
          <p:cNvSpPr/>
          <p:nvPr/>
        </p:nvSpPr>
        <p:spPr>
          <a:xfrm>
            <a:off x="5159687" y="6472990"/>
            <a:ext cx="1872629" cy="25654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ctr"/>
            <a:r>
              <a:rPr lang="en-US" sz="1067">
                <a:solidFill>
                  <a:schemeClr val="bg1"/>
                </a:solidFill>
              </a:rPr>
              <a:t>Confidential and Proprietary</a:t>
            </a:r>
          </a:p>
        </p:txBody>
      </p:sp>
      <p:pic>
        <p:nvPicPr>
          <p:cNvPr id="11" name="Picture 10" descr="A picture containing drawing&#10;&#10;Description automatically generated">
            <a:extLst>
              <a:ext uri="{FF2B5EF4-FFF2-40B4-BE49-F238E27FC236}">
                <a16:creationId xmlns:a16="http://schemas.microsoft.com/office/drawing/2014/main" id="{CE89B9BC-4B06-114E-9740-347300855A9A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9829" y="440013"/>
            <a:ext cx="3882319" cy="808816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E9E4FB52-464C-294E-A14A-24F6F8BC1F8B}"/>
              </a:ext>
            </a:extLst>
          </p:cNvPr>
          <p:cNvSpPr/>
          <p:nvPr/>
        </p:nvSpPr>
        <p:spPr>
          <a:xfrm rot="16200000">
            <a:off x="2686333" y="1171961"/>
            <a:ext cx="1699243" cy="7071908"/>
          </a:xfrm>
          <a:prstGeom prst="rect">
            <a:avLst/>
          </a:prstGeom>
          <a:gradFill>
            <a:gsLst>
              <a:gs pos="2655">
                <a:srgbClr val="000000">
                  <a:alpha val="57000"/>
                  <a:lumMod val="32000"/>
                </a:srgbClr>
              </a:gs>
              <a:gs pos="66000">
                <a:srgbClr val="000000">
                  <a:alpha val="17000"/>
                </a:srgbClr>
              </a:gs>
              <a:gs pos="100000">
                <a:srgbClr val="000000">
                  <a:alpha val="13000"/>
                </a:srgbClr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880"/>
          </a:p>
        </p:txBody>
      </p:sp>
      <p:sp>
        <p:nvSpPr>
          <p:cNvPr id="16" name="Text Placeholder 25">
            <a:extLst>
              <a:ext uri="{FF2B5EF4-FFF2-40B4-BE49-F238E27FC236}">
                <a16:creationId xmlns:a16="http://schemas.microsoft.com/office/drawing/2014/main" id="{F149873F-A028-4A45-91CB-D2F8EE00ADF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58375" y="4973479"/>
            <a:ext cx="6635648" cy="427512"/>
          </a:xfrm>
          <a:prstGeom prst="rect">
            <a:avLst/>
          </a:prstGeom>
        </p:spPr>
        <p:txBody>
          <a:bodyPr anchor="b">
            <a:noAutofit/>
          </a:bodyPr>
          <a:lstStyle>
            <a:lvl1pPr>
              <a:defRPr sz="1467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632D6D5A-8AB3-F24F-812A-BDED7567263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8375" y="4023041"/>
            <a:ext cx="6635648" cy="1061207"/>
          </a:xfrm>
        </p:spPr>
        <p:txBody>
          <a:bodyPr anchor="t"/>
          <a:lstStyle>
            <a:lvl1pPr algn="l">
              <a:defRPr sz="3200" b="1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title </a:t>
            </a:r>
            <a:br>
              <a:rPr lang="en-US"/>
            </a:br>
            <a:r>
              <a:rPr lang="en-US"/>
              <a:t>Divider Slide</a:t>
            </a:r>
          </a:p>
        </p:txBody>
      </p:sp>
      <p:grpSp>
        <p:nvGrpSpPr>
          <p:cNvPr id="23" name="Group 22">
            <a:extLst>
              <a:ext uri="{FF2B5EF4-FFF2-40B4-BE49-F238E27FC236}">
                <a16:creationId xmlns:a16="http://schemas.microsoft.com/office/drawing/2014/main" id="{20742564-4AC1-2448-89E3-FD75621F5FF2}"/>
              </a:ext>
            </a:extLst>
          </p:cNvPr>
          <p:cNvGrpSpPr/>
          <p:nvPr/>
        </p:nvGrpSpPr>
        <p:grpSpPr>
          <a:xfrm>
            <a:off x="380381" y="5836618"/>
            <a:ext cx="1973352" cy="661135"/>
            <a:chOff x="8004175" y="4794250"/>
            <a:chExt cx="862967" cy="289121"/>
          </a:xfrm>
        </p:grpSpPr>
        <p:pic>
          <p:nvPicPr>
            <p:cNvPr id="24" name="Picture 23" descr="A close up of a sign&#10;&#10;Description automatically generated">
              <a:extLst>
                <a:ext uri="{FF2B5EF4-FFF2-40B4-BE49-F238E27FC236}">
                  <a16:creationId xmlns:a16="http://schemas.microsoft.com/office/drawing/2014/main" id="{F05E8185-AA26-9747-932F-5192EBC798D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brightnessContrast bright="100000"/>
                      </a14:imgEffect>
                    </a14:imgLayer>
                  </a14:imgProps>
                </a:ext>
              </a:extLst>
            </a:blip>
            <a:srcRect l="21996"/>
            <a:stretch/>
          </p:blipFill>
          <p:spPr>
            <a:xfrm>
              <a:off x="8191500" y="4794250"/>
              <a:ext cx="675642" cy="289121"/>
            </a:xfrm>
            <a:prstGeom prst="rect">
              <a:avLst/>
            </a:prstGeom>
          </p:spPr>
        </p:pic>
        <p:pic>
          <p:nvPicPr>
            <p:cNvPr id="25" name="Picture 24" descr="A close up of a sign&#10;&#10;Description automatically generated">
              <a:extLst>
                <a:ext uri="{FF2B5EF4-FFF2-40B4-BE49-F238E27FC236}">
                  <a16:creationId xmlns:a16="http://schemas.microsoft.com/office/drawing/2014/main" id="{BB0A4A09-5FC2-554D-9413-5399975913C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/>
            <a:srcRect l="369" r="78004"/>
            <a:stretch/>
          </p:blipFill>
          <p:spPr>
            <a:xfrm>
              <a:off x="8004175" y="4794250"/>
              <a:ext cx="187325" cy="28912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536265285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3122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EE0AA4A-BDF6-5B4A-84AE-EDC943B6DD6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83395" y="889000"/>
            <a:ext cx="11425211" cy="453768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defRPr lang="en-US" sz="2400" b="0" i="0" kern="1200" dirty="0">
                <a:solidFill>
                  <a:schemeClr val="accent2"/>
                </a:solidFill>
                <a:latin typeface="+mj-lt"/>
                <a:ea typeface="Helvetica Neue Thin" panose="020B0403020202020204" pitchFamily="34" charset="0"/>
                <a:cs typeface="+mn-cs"/>
              </a:defRPr>
            </a:lvl1pPr>
          </a:lstStyle>
          <a:p>
            <a:pPr marL="160863" lvl="0" indent="-160863" algn="l" defTabSz="609585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None/>
            </a:pPr>
            <a:r>
              <a:rPr lang="en-US"/>
              <a:t>Click to add subtitle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73120EF8-EB1B-D946-82B1-CAD0E99BBDD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anchor="t"/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7" name="Slide Number Placeholder 2">
            <a:extLst>
              <a:ext uri="{FF2B5EF4-FFF2-40B4-BE49-F238E27FC236}">
                <a16:creationId xmlns:a16="http://schemas.microsoft.com/office/drawing/2014/main" id="{E40D02AD-857A-E546-92E5-BEEC2E0AF7A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bg1"/>
                </a:solidFill>
              </a:defRPr>
            </a:lvl1pPr>
          </a:lstStyle>
          <a:p>
            <a:fld id="{F531C153-56E2-4D58-BF8C-84423A751AD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76184682"/>
      </p:ext>
    </p:extLst>
  </p:cSld>
  <p:clrMapOvr>
    <a:masterClrMapping/>
  </p:clrMapOvr>
  <p:transition>
    <p:fade/>
  </p:transition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COVER_1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6ABA9452-2949-9446-AC88-CB92BEB99DB2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577" t="1017" b="1017"/>
          <a:stretch/>
        </p:blipFill>
        <p:spPr>
          <a:xfrm>
            <a:off x="2641600" y="0"/>
            <a:ext cx="9546323" cy="6858000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3F6BF96D-11A4-484A-B39D-7C6AFB8C6956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6000" r="60791"/>
          <a:stretch/>
        </p:blipFill>
        <p:spPr>
          <a:xfrm>
            <a:off x="1" y="0"/>
            <a:ext cx="2763251" cy="6858000"/>
          </a:xfrm>
          <a:prstGeom prst="rect">
            <a:avLst/>
          </a:prstGeom>
        </p:spPr>
      </p:pic>
      <p:sp>
        <p:nvSpPr>
          <p:cNvPr id="30" name="Rectangle 29">
            <a:extLst>
              <a:ext uri="{FF2B5EF4-FFF2-40B4-BE49-F238E27FC236}">
                <a16:creationId xmlns:a16="http://schemas.microsoft.com/office/drawing/2014/main" id="{F6AE2D78-5EF4-E243-84C9-A76DF898C39A}"/>
              </a:ext>
            </a:extLst>
          </p:cNvPr>
          <p:cNvSpPr/>
          <p:nvPr/>
        </p:nvSpPr>
        <p:spPr>
          <a:xfrm>
            <a:off x="5159688" y="6472990"/>
            <a:ext cx="1872629" cy="25654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067">
                <a:solidFill>
                  <a:schemeClr val="bg1"/>
                </a:solidFill>
              </a:rPr>
              <a:t>Confidential and Proprietary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475AE539-24A4-DF45-9606-B98B83EF179B}"/>
              </a:ext>
            </a:extLst>
          </p:cNvPr>
          <p:cNvSpPr/>
          <p:nvPr/>
        </p:nvSpPr>
        <p:spPr>
          <a:xfrm>
            <a:off x="3133215" y="4373397"/>
            <a:ext cx="9058787" cy="2097987"/>
          </a:xfrm>
          <a:prstGeom prst="rect">
            <a:avLst/>
          </a:prstGeom>
          <a:solidFill>
            <a:srgbClr val="000000">
              <a:alpha val="47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C3AE515F-E6B5-A84C-8D2C-20BDEA69451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58392" y="4672422"/>
            <a:ext cx="8623680" cy="1177609"/>
          </a:xfrm>
          <a:prstGeom prst="rect">
            <a:avLst/>
          </a:prstGeom>
        </p:spPr>
        <p:txBody>
          <a:bodyPr anchor="t"/>
          <a:lstStyle>
            <a:lvl1pPr algn="l">
              <a:defRPr sz="4267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</a:t>
            </a:r>
            <a:br>
              <a:rPr lang="en-US"/>
            </a:br>
            <a:r>
              <a:rPr lang="en-US"/>
              <a:t>Cover text styles</a:t>
            </a:r>
          </a:p>
        </p:txBody>
      </p:sp>
      <p:sp>
        <p:nvSpPr>
          <p:cNvPr id="15" name="Text Placeholder 25">
            <a:extLst>
              <a:ext uri="{FF2B5EF4-FFF2-40B4-BE49-F238E27FC236}">
                <a16:creationId xmlns:a16="http://schemas.microsoft.com/office/drawing/2014/main" id="{EFFB526C-85FA-984C-A331-ACAEF16C6A2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358107" y="5874717"/>
            <a:ext cx="8623680" cy="333259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defRPr sz="1467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Cover</a:t>
            </a:r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DC0DFDD2-DA67-CD42-BE48-33FDA41D5FF4}"/>
              </a:ext>
            </a:extLst>
          </p:cNvPr>
          <p:cNvGrpSpPr/>
          <p:nvPr/>
        </p:nvGrpSpPr>
        <p:grpSpPr>
          <a:xfrm>
            <a:off x="380381" y="5836618"/>
            <a:ext cx="1973352" cy="661135"/>
            <a:chOff x="8004175" y="4794250"/>
            <a:chExt cx="862967" cy="289121"/>
          </a:xfrm>
        </p:grpSpPr>
        <p:pic>
          <p:nvPicPr>
            <p:cNvPr id="23" name="Picture 22" descr="A close up of a sign&#10;&#10;Description automatically generated">
              <a:extLst>
                <a:ext uri="{FF2B5EF4-FFF2-40B4-BE49-F238E27FC236}">
                  <a16:creationId xmlns:a16="http://schemas.microsoft.com/office/drawing/2014/main" id="{D5ECDD8E-4E7A-4549-9B1A-7C48900AE11F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brightnessContrast bright="100000"/>
                      </a14:imgEffect>
                    </a14:imgLayer>
                  </a14:imgProps>
                </a:ext>
              </a:extLst>
            </a:blip>
            <a:srcRect l="21996"/>
            <a:stretch/>
          </p:blipFill>
          <p:spPr>
            <a:xfrm>
              <a:off x="8191500" y="4794250"/>
              <a:ext cx="675642" cy="289121"/>
            </a:xfrm>
            <a:prstGeom prst="rect">
              <a:avLst/>
            </a:prstGeom>
          </p:spPr>
        </p:pic>
        <p:pic>
          <p:nvPicPr>
            <p:cNvPr id="24" name="Picture 23" descr="A close up of a sign&#10;&#10;Description automatically generated">
              <a:extLst>
                <a:ext uri="{FF2B5EF4-FFF2-40B4-BE49-F238E27FC236}">
                  <a16:creationId xmlns:a16="http://schemas.microsoft.com/office/drawing/2014/main" id="{F64CC1EE-E249-7A4B-9AA7-68C99E4274B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/>
            <a:srcRect l="369" r="78004"/>
            <a:stretch/>
          </p:blipFill>
          <p:spPr>
            <a:xfrm>
              <a:off x="8004175" y="4794250"/>
              <a:ext cx="187325" cy="289121"/>
            </a:xfrm>
            <a:prstGeom prst="rect">
              <a:avLst/>
            </a:prstGeom>
          </p:spPr>
        </p:pic>
      </p:grpSp>
      <p:pic>
        <p:nvPicPr>
          <p:cNvPr id="28" name="Picture 27" descr="A picture containing drawing&#10;&#10;Description automatically generated">
            <a:extLst>
              <a:ext uri="{FF2B5EF4-FFF2-40B4-BE49-F238E27FC236}">
                <a16:creationId xmlns:a16="http://schemas.microsoft.com/office/drawing/2014/main" id="{BFC074CA-5360-C24B-9833-CBDB6223A5F6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1915" y="396961"/>
            <a:ext cx="5862636" cy="12213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41771412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312">
          <p15:clr>
            <a:srgbClr val="FBAE40"/>
          </p15:clr>
        </p15:guide>
        <p15:guide id="2" pos="2880">
          <p15:clr>
            <a:srgbClr val="FBAE40"/>
          </p15:clr>
        </p15:guide>
        <p15:guide id="3" orient="horz" pos="3120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COVER_2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5CE04F1D-8242-DA49-BAFE-EA8D7C88BD65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" y="0"/>
            <a:ext cx="9479460" cy="6858000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63CD7699-D227-674B-A0FB-ABE9AB3CB811}"/>
              </a:ext>
            </a:extLst>
          </p:cNvPr>
          <p:cNvSpPr/>
          <p:nvPr/>
        </p:nvSpPr>
        <p:spPr>
          <a:xfrm rot="16200000">
            <a:off x="2783243" y="-681722"/>
            <a:ext cx="2743200" cy="8309677"/>
          </a:xfrm>
          <a:prstGeom prst="rect">
            <a:avLst/>
          </a:prstGeom>
          <a:solidFill>
            <a:srgbClr val="000000">
              <a:alpha val="47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880"/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D842B18D-C2CA-2D48-ACF3-F2641DE00CE4}"/>
              </a:ext>
            </a:extLst>
          </p:cNvPr>
          <p:cNvSpPr/>
          <p:nvPr/>
        </p:nvSpPr>
        <p:spPr>
          <a:xfrm>
            <a:off x="5159687" y="6472990"/>
            <a:ext cx="1872629" cy="25654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ctr"/>
            <a:r>
              <a:rPr lang="en-US" sz="1067">
                <a:solidFill>
                  <a:schemeClr val="bg1"/>
                </a:solidFill>
              </a:rPr>
              <a:t>Confidential and Proprietary</a:t>
            </a:r>
          </a:p>
        </p:txBody>
      </p:sp>
      <p:pic>
        <p:nvPicPr>
          <p:cNvPr id="14" name="Picture 13" descr="A picture containing drawing&#10;&#10;Description automatically generated">
            <a:extLst>
              <a:ext uri="{FF2B5EF4-FFF2-40B4-BE49-F238E27FC236}">
                <a16:creationId xmlns:a16="http://schemas.microsoft.com/office/drawing/2014/main" id="{80D211F2-05B3-034E-B1C2-9F8DA5FDD13D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9829" y="440013"/>
            <a:ext cx="3882319" cy="808816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C0A47610-50C7-9447-9477-227C1DFB368D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t="1279" r="1170"/>
          <a:stretch/>
        </p:blipFill>
        <p:spPr>
          <a:xfrm>
            <a:off x="7990375" y="0"/>
            <a:ext cx="4201623" cy="6858000"/>
          </a:xfrm>
          <a:prstGeom prst="rect">
            <a:avLst/>
          </a:prstGeom>
        </p:spPr>
      </p:pic>
      <p:sp>
        <p:nvSpPr>
          <p:cNvPr id="20" name="Title 1">
            <a:extLst>
              <a:ext uri="{FF2B5EF4-FFF2-40B4-BE49-F238E27FC236}">
                <a16:creationId xmlns:a16="http://schemas.microsoft.com/office/drawing/2014/main" id="{6EC793FD-6A19-9448-9E2D-690E87D9261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8287" y="2323254"/>
            <a:ext cx="7453459" cy="1611085"/>
          </a:xfrm>
          <a:prstGeom prst="rect">
            <a:avLst/>
          </a:prstGeom>
        </p:spPr>
        <p:txBody>
          <a:bodyPr anchor="t"/>
          <a:lstStyle>
            <a:lvl1pPr algn="l">
              <a:defRPr sz="5333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</a:t>
            </a:r>
            <a:br>
              <a:rPr lang="en-US"/>
            </a:br>
            <a:r>
              <a:rPr lang="en-US"/>
              <a:t>Template Cover</a:t>
            </a:r>
          </a:p>
        </p:txBody>
      </p:sp>
      <p:sp>
        <p:nvSpPr>
          <p:cNvPr id="21" name="Text Placeholder 4">
            <a:extLst>
              <a:ext uri="{FF2B5EF4-FFF2-40B4-BE49-F238E27FC236}">
                <a16:creationId xmlns:a16="http://schemas.microsoft.com/office/drawing/2014/main" id="{C0F7779C-31C9-B14B-893D-2E2E6B1B3E1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08001" y="3972048"/>
            <a:ext cx="7453743" cy="501651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defRPr sz="1867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Cover text styles</a:t>
            </a:r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097E3344-6145-8B4C-8425-F307D87001A6}"/>
              </a:ext>
            </a:extLst>
          </p:cNvPr>
          <p:cNvGrpSpPr/>
          <p:nvPr/>
        </p:nvGrpSpPr>
        <p:grpSpPr>
          <a:xfrm>
            <a:off x="380381" y="5836618"/>
            <a:ext cx="1973352" cy="661135"/>
            <a:chOff x="8004175" y="4794250"/>
            <a:chExt cx="862967" cy="289121"/>
          </a:xfrm>
        </p:grpSpPr>
        <p:pic>
          <p:nvPicPr>
            <p:cNvPr id="23" name="Picture 22" descr="A close up of a sign&#10;&#10;Description automatically generated">
              <a:extLst>
                <a:ext uri="{FF2B5EF4-FFF2-40B4-BE49-F238E27FC236}">
                  <a16:creationId xmlns:a16="http://schemas.microsoft.com/office/drawing/2014/main" id="{F3404E46-B209-7841-B9CD-568FC50C3F5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brightnessContrast bright="100000"/>
                      </a14:imgEffect>
                    </a14:imgLayer>
                  </a14:imgProps>
                </a:ext>
              </a:extLst>
            </a:blip>
            <a:srcRect l="21996"/>
            <a:stretch/>
          </p:blipFill>
          <p:spPr>
            <a:xfrm>
              <a:off x="8191500" y="4794250"/>
              <a:ext cx="675642" cy="289121"/>
            </a:xfrm>
            <a:prstGeom prst="rect">
              <a:avLst/>
            </a:prstGeom>
          </p:spPr>
        </p:pic>
        <p:pic>
          <p:nvPicPr>
            <p:cNvPr id="24" name="Picture 23" descr="A close up of a sign&#10;&#10;Description automatically generated">
              <a:extLst>
                <a:ext uri="{FF2B5EF4-FFF2-40B4-BE49-F238E27FC236}">
                  <a16:creationId xmlns:a16="http://schemas.microsoft.com/office/drawing/2014/main" id="{E3490339-188D-1F4D-B880-0682147BE19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/>
            <a:srcRect l="369" r="78004"/>
            <a:stretch/>
          </p:blipFill>
          <p:spPr>
            <a:xfrm>
              <a:off x="8004175" y="4794250"/>
              <a:ext cx="187325" cy="28912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53846218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5527">
          <p15:clr>
            <a:srgbClr val="FBAE40"/>
          </p15:clr>
        </p15:guide>
        <p15:guide id="2" pos="312">
          <p15:clr>
            <a:srgbClr val="FBAE40"/>
          </p15:clr>
        </p15:guide>
        <p15:guide id="3" orient="horz" pos="3108">
          <p15:clr>
            <a:srgbClr val="FBAE40"/>
          </p15:clr>
        </p15:guide>
      </p15:sldGuideLst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DIVIDER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picture containing grass, sitting, holding, hand&#10;&#10;Description automatically generated">
            <a:extLst>
              <a:ext uri="{FF2B5EF4-FFF2-40B4-BE49-F238E27FC236}">
                <a16:creationId xmlns:a16="http://schemas.microsoft.com/office/drawing/2014/main" id="{A63BF675-C25F-F34B-9C98-8414B478C85A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 rot="10800000" flipH="1" flipV="1">
            <a:off x="0" y="2060"/>
            <a:ext cx="12192000" cy="6853880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384AA5E1-97F7-F94D-A2BC-C8D84C968135}"/>
              </a:ext>
            </a:extLst>
          </p:cNvPr>
          <p:cNvSpPr/>
          <p:nvPr/>
        </p:nvSpPr>
        <p:spPr>
          <a:xfrm>
            <a:off x="1" y="2380007"/>
            <a:ext cx="9078137" cy="2097987"/>
          </a:xfrm>
          <a:prstGeom prst="rect">
            <a:avLst/>
          </a:prstGeom>
          <a:solidFill>
            <a:srgbClr val="000000">
              <a:alpha val="47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930C2FE8-CBEA-DF43-850F-002BBF4C0D0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6903" y="2581166"/>
            <a:ext cx="8584331" cy="1695669"/>
          </a:xfrm>
          <a:prstGeom prst="rect">
            <a:avLst/>
          </a:prstGeom>
        </p:spPr>
        <p:txBody>
          <a:bodyPr anchor="ctr"/>
          <a:lstStyle>
            <a:lvl1pPr algn="l">
              <a:defRPr sz="4267" b="1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5E2CF6DA-9596-9045-844D-C6A891DC4116}"/>
              </a:ext>
            </a:extLst>
          </p:cNvPr>
          <p:cNvSpPr/>
          <p:nvPr/>
        </p:nvSpPr>
        <p:spPr>
          <a:xfrm>
            <a:off x="5159688" y="6472990"/>
            <a:ext cx="1872629" cy="25654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067">
                <a:solidFill>
                  <a:schemeClr val="bg1"/>
                </a:solidFill>
              </a:rPr>
              <a:t>Confidential and Proprietary</a:t>
            </a:r>
          </a:p>
        </p:txBody>
      </p:sp>
      <p:pic>
        <p:nvPicPr>
          <p:cNvPr id="11" name="Picture 10" descr="A picture containing drawing&#10;&#10;Description automatically generated">
            <a:extLst>
              <a:ext uri="{FF2B5EF4-FFF2-40B4-BE49-F238E27FC236}">
                <a16:creationId xmlns:a16="http://schemas.microsoft.com/office/drawing/2014/main" id="{6C4BEC19-A2BE-4340-9E25-E87CB1B9119C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9829" y="440013"/>
            <a:ext cx="3882319" cy="808816"/>
          </a:xfrm>
          <a:prstGeom prst="rect">
            <a:avLst/>
          </a:prstGeom>
        </p:spPr>
      </p:pic>
      <p:grpSp>
        <p:nvGrpSpPr>
          <p:cNvPr id="18" name="Group 17">
            <a:extLst>
              <a:ext uri="{FF2B5EF4-FFF2-40B4-BE49-F238E27FC236}">
                <a16:creationId xmlns:a16="http://schemas.microsoft.com/office/drawing/2014/main" id="{15B82A02-5908-8C47-91C9-6A19E6F2740A}"/>
              </a:ext>
            </a:extLst>
          </p:cNvPr>
          <p:cNvGrpSpPr/>
          <p:nvPr/>
        </p:nvGrpSpPr>
        <p:grpSpPr>
          <a:xfrm>
            <a:off x="380381" y="5836618"/>
            <a:ext cx="1973352" cy="661135"/>
            <a:chOff x="8004175" y="4794250"/>
            <a:chExt cx="862967" cy="289121"/>
          </a:xfrm>
        </p:grpSpPr>
        <p:pic>
          <p:nvPicPr>
            <p:cNvPr id="19" name="Picture 18" descr="A close up of a sign&#10;&#10;Description automatically generated">
              <a:extLst>
                <a:ext uri="{FF2B5EF4-FFF2-40B4-BE49-F238E27FC236}">
                  <a16:creationId xmlns:a16="http://schemas.microsoft.com/office/drawing/2014/main" id="{5F607902-A4F4-A74D-91B0-155840AD30F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brightnessContrast bright="100000"/>
                      </a14:imgEffect>
                    </a14:imgLayer>
                  </a14:imgProps>
                </a:ext>
              </a:extLst>
            </a:blip>
            <a:srcRect l="21996"/>
            <a:stretch/>
          </p:blipFill>
          <p:spPr>
            <a:xfrm>
              <a:off x="8191500" y="4794250"/>
              <a:ext cx="675642" cy="289121"/>
            </a:xfrm>
            <a:prstGeom prst="rect">
              <a:avLst/>
            </a:prstGeom>
          </p:spPr>
        </p:pic>
        <p:pic>
          <p:nvPicPr>
            <p:cNvPr id="20" name="Picture 19" descr="A close up of a sign&#10;&#10;Description automatically generated">
              <a:extLst>
                <a:ext uri="{FF2B5EF4-FFF2-40B4-BE49-F238E27FC236}">
                  <a16:creationId xmlns:a16="http://schemas.microsoft.com/office/drawing/2014/main" id="{3CD08B4A-DA5C-D64E-B301-8E1DDA566D3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/>
            <a:srcRect l="369" r="78004"/>
            <a:stretch/>
          </p:blipFill>
          <p:spPr>
            <a:xfrm>
              <a:off x="8004175" y="4794250"/>
              <a:ext cx="187325" cy="28912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849486985"/>
      </p:ext>
    </p:extLst>
  </p:cSld>
  <p:clrMapOvr>
    <a:masterClrMapping/>
  </p:clrMapOvr>
  <p:transition>
    <p:fade/>
  </p:transition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DIVIDER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>
            <a:extLst>
              <a:ext uri="{FF2B5EF4-FFF2-40B4-BE49-F238E27FC236}">
                <a16:creationId xmlns:a16="http://schemas.microsoft.com/office/drawing/2014/main" id="{9F4EE8CF-2E0D-2C41-BBE4-D2BA756DECA0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603" t="638" r="812" b="849"/>
          <a:stretch/>
        </p:blipFill>
        <p:spPr>
          <a:xfrm>
            <a:off x="-1" y="0"/>
            <a:ext cx="12192001" cy="6858000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2D8F9F64-97EA-7B45-9264-921033DB89E7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640" t="1" r="799" b="1878"/>
          <a:stretch/>
        </p:blipFill>
        <p:spPr>
          <a:xfrm>
            <a:off x="-1" y="3858291"/>
            <a:ext cx="7082991" cy="1699244"/>
          </a:xfrm>
          <a:prstGeom prst="rect">
            <a:avLst/>
          </a:prstGeom>
        </p:spPr>
      </p:pic>
      <p:sp>
        <p:nvSpPr>
          <p:cNvPr id="21" name="Rectangle 20">
            <a:extLst>
              <a:ext uri="{FF2B5EF4-FFF2-40B4-BE49-F238E27FC236}">
                <a16:creationId xmlns:a16="http://schemas.microsoft.com/office/drawing/2014/main" id="{60987177-7E2F-2F4C-9CAC-C2DE2235448C}"/>
              </a:ext>
            </a:extLst>
          </p:cNvPr>
          <p:cNvSpPr/>
          <p:nvPr/>
        </p:nvSpPr>
        <p:spPr>
          <a:xfrm>
            <a:off x="5159688" y="6472990"/>
            <a:ext cx="1872629" cy="25654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067">
                <a:solidFill>
                  <a:schemeClr val="bg1"/>
                </a:solidFill>
              </a:rPr>
              <a:t>Confidential and Proprietary</a:t>
            </a:r>
          </a:p>
        </p:txBody>
      </p:sp>
      <p:pic>
        <p:nvPicPr>
          <p:cNvPr id="11" name="Picture 10" descr="A picture containing drawing&#10;&#10;Description automatically generated">
            <a:extLst>
              <a:ext uri="{FF2B5EF4-FFF2-40B4-BE49-F238E27FC236}">
                <a16:creationId xmlns:a16="http://schemas.microsoft.com/office/drawing/2014/main" id="{CE89B9BC-4B06-114E-9740-347300855A9A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9829" y="440013"/>
            <a:ext cx="3882319" cy="808816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2C513E27-43E7-454F-A802-0F7550E73259}"/>
              </a:ext>
            </a:extLst>
          </p:cNvPr>
          <p:cNvSpPr/>
          <p:nvPr/>
        </p:nvSpPr>
        <p:spPr>
          <a:xfrm rot="16200000">
            <a:off x="2697413" y="1171961"/>
            <a:ext cx="1699243" cy="7071908"/>
          </a:xfrm>
          <a:prstGeom prst="rect">
            <a:avLst/>
          </a:prstGeom>
          <a:gradFill>
            <a:gsLst>
              <a:gs pos="2655">
                <a:srgbClr val="000000">
                  <a:alpha val="57000"/>
                  <a:lumMod val="32000"/>
                </a:srgbClr>
              </a:gs>
              <a:gs pos="66000">
                <a:srgbClr val="000000">
                  <a:alpha val="17000"/>
                </a:srgbClr>
              </a:gs>
              <a:gs pos="100000">
                <a:srgbClr val="000000">
                  <a:alpha val="13000"/>
                </a:srgbClr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880"/>
          </a:p>
        </p:txBody>
      </p:sp>
      <p:sp>
        <p:nvSpPr>
          <p:cNvPr id="10" name="Text Placeholder 25">
            <a:extLst>
              <a:ext uri="{FF2B5EF4-FFF2-40B4-BE49-F238E27FC236}">
                <a16:creationId xmlns:a16="http://schemas.microsoft.com/office/drawing/2014/main" id="{AD955237-C6A5-C346-A2BD-69702C93AFC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58375" y="4973479"/>
            <a:ext cx="6635648" cy="427512"/>
          </a:xfrm>
          <a:prstGeom prst="rect">
            <a:avLst/>
          </a:prstGeom>
        </p:spPr>
        <p:txBody>
          <a:bodyPr anchor="b">
            <a:noAutofit/>
          </a:bodyPr>
          <a:lstStyle>
            <a:lvl1pPr>
              <a:defRPr sz="1467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22834FDC-A1E0-CA4D-9B19-4FBD56606D5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8375" y="4023041"/>
            <a:ext cx="6635648" cy="1061207"/>
          </a:xfrm>
          <a:prstGeom prst="rect">
            <a:avLst/>
          </a:prstGeom>
        </p:spPr>
        <p:txBody>
          <a:bodyPr anchor="t"/>
          <a:lstStyle>
            <a:lvl1pPr algn="l">
              <a:defRPr sz="3200" b="1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title </a:t>
            </a:r>
            <a:br>
              <a:rPr lang="en-US"/>
            </a:br>
            <a:r>
              <a:rPr lang="en-US"/>
              <a:t>Divider Slide</a:t>
            </a:r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D75F30AC-509B-FD43-A4F2-1FA5B572B9BE}"/>
              </a:ext>
            </a:extLst>
          </p:cNvPr>
          <p:cNvGrpSpPr/>
          <p:nvPr/>
        </p:nvGrpSpPr>
        <p:grpSpPr>
          <a:xfrm>
            <a:off x="380381" y="5836618"/>
            <a:ext cx="1973352" cy="661135"/>
            <a:chOff x="8004175" y="4794250"/>
            <a:chExt cx="862967" cy="289121"/>
          </a:xfrm>
        </p:grpSpPr>
        <p:pic>
          <p:nvPicPr>
            <p:cNvPr id="23" name="Picture 22" descr="A close up of a sign&#10;&#10;Description automatically generated">
              <a:extLst>
                <a:ext uri="{FF2B5EF4-FFF2-40B4-BE49-F238E27FC236}">
                  <a16:creationId xmlns:a16="http://schemas.microsoft.com/office/drawing/2014/main" id="{CFDB2E0E-0DAC-DC46-9724-DBC2F06B15C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brightnessContrast bright="100000"/>
                      </a14:imgEffect>
                    </a14:imgLayer>
                  </a14:imgProps>
                </a:ext>
              </a:extLst>
            </a:blip>
            <a:srcRect l="21996"/>
            <a:stretch/>
          </p:blipFill>
          <p:spPr>
            <a:xfrm>
              <a:off x="8191500" y="4794250"/>
              <a:ext cx="675642" cy="289121"/>
            </a:xfrm>
            <a:prstGeom prst="rect">
              <a:avLst/>
            </a:prstGeom>
          </p:spPr>
        </p:pic>
        <p:pic>
          <p:nvPicPr>
            <p:cNvPr id="24" name="Picture 23" descr="A close up of a sign&#10;&#10;Description automatically generated">
              <a:extLst>
                <a:ext uri="{FF2B5EF4-FFF2-40B4-BE49-F238E27FC236}">
                  <a16:creationId xmlns:a16="http://schemas.microsoft.com/office/drawing/2014/main" id="{B508427F-CE42-FD4F-9A7F-DF12CFB5A8C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/>
            <a:srcRect l="369" r="78004"/>
            <a:stretch/>
          </p:blipFill>
          <p:spPr>
            <a:xfrm>
              <a:off x="8004175" y="4794250"/>
              <a:ext cx="187325" cy="28912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10036090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3122">
          <p15:clr>
            <a:srgbClr val="FBAE40"/>
          </p15:clr>
        </p15:guide>
      </p15:sldGuideLst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_1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3EFB3821-C7F5-C140-B553-BF5C000A57B5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8736" t="369"/>
          <a:stretch/>
        </p:blipFill>
        <p:spPr>
          <a:xfrm>
            <a:off x="2747434" y="0"/>
            <a:ext cx="9440333" cy="6858000"/>
          </a:xfrm>
          <a:prstGeom prst="rect">
            <a:avLst/>
          </a:prstGeom>
        </p:spPr>
      </p:pic>
      <p:pic>
        <p:nvPicPr>
          <p:cNvPr id="5" name="Picture 4" descr="A picture containing large, door, covered, standing&#10;&#10;Description automatically generated">
            <a:extLst>
              <a:ext uri="{FF2B5EF4-FFF2-40B4-BE49-F238E27FC236}">
                <a16:creationId xmlns:a16="http://schemas.microsoft.com/office/drawing/2014/main" id="{A1B9092B-B1B0-4D40-804A-96B26B6B9E25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5934"/>
          <a:stretch/>
        </p:blipFill>
        <p:spPr>
          <a:xfrm>
            <a:off x="0" y="0"/>
            <a:ext cx="2927235" cy="6858000"/>
          </a:xfrm>
          <a:prstGeom prst="rect">
            <a:avLst/>
          </a:prstGeom>
        </p:spPr>
      </p:pic>
      <p:sp>
        <p:nvSpPr>
          <p:cNvPr id="14" name="Rectangle 13">
            <a:extLst>
              <a:ext uri="{FF2B5EF4-FFF2-40B4-BE49-F238E27FC236}">
                <a16:creationId xmlns:a16="http://schemas.microsoft.com/office/drawing/2014/main" id="{15D713C5-8038-3E46-A862-1CF418813E6D}"/>
              </a:ext>
            </a:extLst>
          </p:cNvPr>
          <p:cNvSpPr/>
          <p:nvPr/>
        </p:nvSpPr>
        <p:spPr>
          <a:xfrm>
            <a:off x="3133215" y="4373397"/>
            <a:ext cx="9058787" cy="2097987"/>
          </a:xfrm>
          <a:prstGeom prst="rect">
            <a:avLst/>
          </a:prstGeom>
          <a:solidFill>
            <a:srgbClr val="000000">
              <a:alpha val="47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1B43CBA8-2583-234C-8E10-6B4BF16FF00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58392" y="4672422"/>
            <a:ext cx="8623680" cy="1177609"/>
          </a:xfrm>
        </p:spPr>
        <p:txBody>
          <a:bodyPr anchor="t"/>
          <a:lstStyle>
            <a:lvl1pPr algn="l">
              <a:defRPr sz="4267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</a:t>
            </a:r>
            <a:br>
              <a:rPr lang="en-US"/>
            </a:br>
            <a:r>
              <a:rPr lang="en-US"/>
              <a:t>Cover text styles</a:t>
            </a:r>
          </a:p>
        </p:txBody>
      </p:sp>
      <p:sp>
        <p:nvSpPr>
          <p:cNvPr id="26" name="Text Placeholder 25">
            <a:extLst>
              <a:ext uri="{FF2B5EF4-FFF2-40B4-BE49-F238E27FC236}">
                <a16:creationId xmlns:a16="http://schemas.microsoft.com/office/drawing/2014/main" id="{E4E7F766-50E7-DA47-BD4C-DCB2E8BA659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358107" y="5874717"/>
            <a:ext cx="8623680" cy="333259"/>
          </a:xfrm>
        </p:spPr>
        <p:txBody>
          <a:bodyPr anchor="t">
            <a:noAutofit/>
          </a:bodyPr>
          <a:lstStyle>
            <a:lvl1pPr>
              <a:defRPr sz="1467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Cover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F6AE2D78-5EF4-E243-84C9-A76DF898C39A}"/>
              </a:ext>
            </a:extLst>
          </p:cNvPr>
          <p:cNvSpPr/>
          <p:nvPr/>
        </p:nvSpPr>
        <p:spPr>
          <a:xfrm>
            <a:off x="5159688" y="6472990"/>
            <a:ext cx="1872629" cy="25654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ctr"/>
            <a:r>
              <a:rPr lang="en-US" sz="1067">
                <a:solidFill>
                  <a:schemeClr val="bg1"/>
                </a:solidFill>
              </a:rPr>
              <a:t>Confidential and Proprietary</a:t>
            </a: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6872B6B3-BBC7-524F-B73F-81CABB5D9003}"/>
              </a:ext>
            </a:extLst>
          </p:cNvPr>
          <p:cNvGrpSpPr/>
          <p:nvPr/>
        </p:nvGrpSpPr>
        <p:grpSpPr>
          <a:xfrm>
            <a:off x="380381" y="5836618"/>
            <a:ext cx="1973352" cy="661135"/>
            <a:chOff x="8004175" y="4794250"/>
            <a:chExt cx="862967" cy="289121"/>
          </a:xfrm>
        </p:grpSpPr>
        <p:pic>
          <p:nvPicPr>
            <p:cNvPr id="19" name="Picture 18" descr="A close up of a sign&#10;&#10;Description automatically generated">
              <a:extLst>
                <a:ext uri="{FF2B5EF4-FFF2-40B4-BE49-F238E27FC236}">
                  <a16:creationId xmlns:a16="http://schemas.microsoft.com/office/drawing/2014/main" id="{7FE2E475-A56D-814B-B3A7-695220805A1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brightnessContrast bright="100000"/>
                      </a14:imgEffect>
                    </a14:imgLayer>
                  </a14:imgProps>
                </a:ext>
              </a:extLst>
            </a:blip>
            <a:srcRect l="21996"/>
            <a:stretch/>
          </p:blipFill>
          <p:spPr>
            <a:xfrm>
              <a:off x="8191500" y="4794250"/>
              <a:ext cx="675642" cy="289121"/>
            </a:xfrm>
            <a:prstGeom prst="rect">
              <a:avLst/>
            </a:prstGeom>
          </p:spPr>
        </p:pic>
        <p:pic>
          <p:nvPicPr>
            <p:cNvPr id="20" name="Picture 19" descr="A close up of a sign&#10;&#10;Description automatically generated">
              <a:extLst>
                <a:ext uri="{FF2B5EF4-FFF2-40B4-BE49-F238E27FC236}">
                  <a16:creationId xmlns:a16="http://schemas.microsoft.com/office/drawing/2014/main" id="{F1E9D7CE-0090-3C4C-82CC-2ED1630C2BF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/>
            <a:srcRect l="369" r="78004"/>
            <a:stretch/>
          </p:blipFill>
          <p:spPr>
            <a:xfrm>
              <a:off x="8004175" y="4794250"/>
              <a:ext cx="187325" cy="289121"/>
            </a:xfrm>
            <a:prstGeom prst="rect">
              <a:avLst/>
            </a:prstGeom>
          </p:spPr>
        </p:pic>
      </p:grpSp>
      <p:pic>
        <p:nvPicPr>
          <p:cNvPr id="25" name="Picture 24" descr="A picture containing drawing&#10;&#10;Description automatically generated">
            <a:extLst>
              <a:ext uri="{FF2B5EF4-FFF2-40B4-BE49-F238E27FC236}">
                <a16:creationId xmlns:a16="http://schemas.microsoft.com/office/drawing/2014/main" id="{DC9384D6-0AEC-A343-9EF9-914FD2AA657E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1915" y="396961"/>
            <a:ext cx="5862636" cy="12213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46737143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312">
          <p15:clr>
            <a:srgbClr val="FBAE40"/>
          </p15:clr>
        </p15:guide>
        <p15:guide id="2" pos="2880">
          <p15:clr>
            <a:srgbClr val="FBAE40"/>
          </p15:clr>
        </p15:guide>
        <p15:guide id="3" orient="horz" pos="3120">
          <p15:clr>
            <a:srgbClr val="FBAE40"/>
          </p15:clr>
        </p15:guide>
      </p15:sldGuideLst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_2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24B98A07-C311-B04F-B642-83ECA42C3684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1135" r="1135"/>
          <a:stretch/>
        </p:blipFill>
        <p:spPr>
          <a:xfrm>
            <a:off x="7857705" y="506"/>
            <a:ext cx="4334295" cy="6856989"/>
          </a:xfrm>
          <a:prstGeom prst="rect">
            <a:avLst/>
          </a:prstGeom>
        </p:spPr>
      </p:pic>
      <p:pic>
        <p:nvPicPr>
          <p:cNvPr id="15" name="Picture 14" descr="A picture containing large, door, covered, standing&#10;&#10;Description automatically generated">
            <a:extLst>
              <a:ext uri="{FF2B5EF4-FFF2-40B4-BE49-F238E27FC236}">
                <a16:creationId xmlns:a16="http://schemas.microsoft.com/office/drawing/2014/main" id="{A6BD58E3-44A5-3C44-99A9-DA45B1F173A5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-1" y="694"/>
            <a:ext cx="7970913" cy="6856612"/>
          </a:xfrm>
          <a:prstGeom prst="rect">
            <a:avLst/>
          </a:prstGeom>
        </p:spPr>
      </p:pic>
      <p:sp>
        <p:nvSpPr>
          <p:cNvPr id="18" name="Rectangle 17">
            <a:extLst>
              <a:ext uri="{FF2B5EF4-FFF2-40B4-BE49-F238E27FC236}">
                <a16:creationId xmlns:a16="http://schemas.microsoft.com/office/drawing/2014/main" id="{8BE8241D-4594-694A-8843-B599D7CD5C0E}"/>
              </a:ext>
            </a:extLst>
          </p:cNvPr>
          <p:cNvSpPr/>
          <p:nvPr/>
        </p:nvSpPr>
        <p:spPr>
          <a:xfrm>
            <a:off x="0" y="2175409"/>
            <a:ext cx="7970912" cy="2503808"/>
          </a:xfrm>
          <a:prstGeom prst="rect">
            <a:avLst/>
          </a:prstGeom>
          <a:solidFill>
            <a:srgbClr val="000000">
              <a:alpha val="47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D842B18D-C2CA-2D48-ACF3-F2641DE00CE4}"/>
              </a:ext>
            </a:extLst>
          </p:cNvPr>
          <p:cNvSpPr/>
          <p:nvPr/>
        </p:nvSpPr>
        <p:spPr>
          <a:xfrm>
            <a:off x="5159686" y="6472990"/>
            <a:ext cx="1872629" cy="25654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067">
                <a:solidFill>
                  <a:schemeClr val="bg1"/>
                </a:solidFill>
              </a:rPr>
              <a:t>Confidential and Proprietary</a:t>
            </a:r>
          </a:p>
        </p:txBody>
      </p:sp>
      <p:pic>
        <p:nvPicPr>
          <p:cNvPr id="14" name="Picture 13" descr="A picture containing drawing&#10;&#10;Description automatically generated">
            <a:extLst>
              <a:ext uri="{FF2B5EF4-FFF2-40B4-BE49-F238E27FC236}">
                <a16:creationId xmlns:a16="http://schemas.microsoft.com/office/drawing/2014/main" id="{80D211F2-05B3-034E-B1C2-9F8DA5FDD13D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9829" y="440013"/>
            <a:ext cx="3882319" cy="808816"/>
          </a:xfrm>
          <a:prstGeom prst="rect">
            <a:avLst/>
          </a:prstGeom>
        </p:spPr>
      </p:pic>
      <p:sp>
        <p:nvSpPr>
          <p:cNvPr id="21" name="Title 1">
            <a:extLst>
              <a:ext uri="{FF2B5EF4-FFF2-40B4-BE49-F238E27FC236}">
                <a16:creationId xmlns:a16="http://schemas.microsoft.com/office/drawing/2014/main" id="{6D34C67C-0ABC-764E-8BDF-403FE9A0C59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8287" y="2323254"/>
            <a:ext cx="7453459" cy="1611085"/>
          </a:xfrm>
        </p:spPr>
        <p:txBody>
          <a:bodyPr anchor="t"/>
          <a:lstStyle>
            <a:lvl1pPr algn="l">
              <a:defRPr sz="5333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</a:t>
            </a:r>
            <a:br>
              <a:rPr lang="en-US"/>
            </a:br>
            <a:r>
              <a:rPr lang="en-US"/>
              <a:t>Template Cover</a:t>
            </a:r>
          </a:p>
        </p:txBody>
      </p:sp>
      <p:sp>
        <p:nvSpPr>
          <p:cNvPr id="22" name="Text Placeholder 4">
            <a:extLst>
              <a:ext uri="{FF2B5EF4-FFF2-40B4-BE49-F238E27FC236}">
                <a16:creationId xmlns:a16="http://schemas.microsoft.com/office/drawing/2014/main" id="{F239955E-F1CF-6642-9EE2-469C4C8919D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08001" y="3972048"/>
            <a:ext cx="7453743" cy="501651"/>
          </a:xfrm>
        </p:spPr>
        <p:txBody>
          <a:bodyPr>
            <a:normAutofit/>
          </a:bodyPr>
          <a:lstStyle>
            <a:lvl1pPr algn="l">
              <a:defRPr sz="1867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Cover text styles</a:t>
            </a: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F226C289-4D6D-C14C-9E73-E4AB7540E90E}"/>
              </a:ext>
            </a:extLst>
          </p:cNvPr>
          <p:cNvGrpSpPr/>
          <p:nvPr/>
        </p:nvGrpSpPr>
        <p:grpSpPr>
          <a:xfrm>
            <a:off x="380381" y="5836618"/>
            <a:ext cx="1973352" cy="661135"/>
            <a:chOff x="8004175" y="4794250"/>
            <a:chExt cx="862967" cy="289121"/>
          </a:xfrm>
        </p:grpSpPr>
        <p:pic>
          <p:nvPicPr>
            <p:cNvPr id="23" name="Picture 22" descr="A close up of a sign&#10;&#10;Description automatically generated">
              <a:extLst>
                <a:ext uri="{FF2B5EF4-FFF2-40B4-BE49-F238E27FC236}">
                  <a16:creationId xmlns:a16="http://schemas.microsoft.com/office/drawing/2014/main" id="{9ABD9A75-E9A1-FC42-8F53-6DB82AC53C9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brightnessContrast bright="100000"/>
                      </a14:imgEffect>
                    </a14:imgLayer>
                  </a14:imgProps>
                </a:ext>
              </a:extLst>
            </a:blip>
            <a:srcRect l="21996"/>
            <a:stretch/>
          </p:blipFill>
          <p:spPr>
            <a:xfrm>
              <a:off x="8191500" y="4794250"/>
              <a:ext cx="675642" cy="289121"/>
            </a:xfrm>
            <a:prstGeom prst="rect">
              <a:avLst/>
            </a:prstGeom>
          </p:spPr>
        </p:pic>
        <p:pic>
          <p:nvPicPr>
            <p:cNvPr id="24" name="Picture 23" descr="A close up of a sign&#10;&#10;Description automatically generated">
              <a:extLst>
                <a:ext uri="{FF2B5EF4-FFF2-40B4-BE49-F238E27FC236}">
                  <a16:creationId xmlns:a16="http://schemas.microsoft.com/office/drawing/2014/main" id="{F99136DD-2321-EF46-B63E-D45E9BF8FE7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/>
            <a:srcRect l="369" r="78004"/>
            <a:stretch/>
          </p:blipFill>
          <p:spPr>
            <a:xfrm>
              <a:off x="8004175" y="4794250"/>
              <a:ext cx="187325" cy="28912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9364824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5527">
          <p15:clr>
            <a:srgbClr val="FBAE40"/>
          </p15:clr>
        </p15:guide>
        <p15:guide id="2" pos="312">
          <p15:clr>
            <a:srgbClr val="FBAE40"/>
          </p15:clr>
        </p15:guide>
        <p15:guide id="3" orient="horz" pos="3108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A picture containing large, door, covered, standing&#10;&#10;Description automatically generated">
            <a:extLst>
              <a:ext uri="{FF2B5EF4-FFF2-40B4-BE49-F238E27FC236}">
                <a16:creationId xmlns:a16="http://schemas.microsoft.com/office/drawing/2014/main" id="{47B81AA6-5C07-024A-B778-872EA380EFA8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309" t="1127" r="740"/>
          <a:stretch/>
        </p:blipFill>
        <p:spPr>
          <a:xfrm>
            <a:off x="0" y="-6096"/>
            <a:ext cx="12192000" cy="6864096"/>
          </a:xfrm>
          <a:prstGeom prst="rect">
            <a:avLst/>
          </a:prstGeom>
        </p:spPr>
      </p:pic>
      <p:sp>
        <p:nvSpPr>
          <p:cNvPr id="15" name="Rectangle 14">
            <a:extLst>
              <a:ext uri="{FF2B5EF4-FFF2-40B4-BE49-F238E27FC236}">
                <a16:creationId xmlns:a16="http://schemas.microsoft.com/office/drawing/2014/main" id="{5E2CF6DA-9596-9045-844D-C6A891DC4116}"/>
              </a:ext>
            </a:extLst>
          </p:cNvPr>
          <p:cNvSpPr/>
          <p:nvPr/>
        </p:nvSpPr>
        <p:spPr>
          <a:xfrm>
            <a:off x="5159688" y="6472990"/>
            <a:ext cx="1872629" cy="25654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067">
                <a:solidFill>
                  <a:schemeClr val="bg1"/>
                </a:solidFill>
              </a:rPr>
              <a:t>Confidential and Proprietary</a:t>
            </a:r>
          </a:p>
        </p:txBody>
      </p:sp>
      <p:pic>
        <p:nvPicPr>
          <p:cNvPr id="10" name="Picture 9" descr="A picture containing drawing&#10;&#10;Description automatically generated">
            <a:extLst>
              <a:ext uri="{FF2B5EF4-FFF2-40B4-BE49-F238E27FC236}">
                <a16:creationId xmlns:a16="http://schemas.microsoft.com/office/drawing/2014/main" id="{FD1F9036-983F-7549-AC79-26E9E3AC0F2B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9829" y="440013"/>
            <a:ext cx="3882319" cy="808816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248D8E13-2CAC-DD4B-AFC4-0702D9F1C5E1}"/>
              </a:ext>
            </a:extLst>
          </p:cNvPr>
          <p:cNvSpPr/>
          <p:nvPr/>
        </p:nvSpPr>
        <p:spPr>
          <a:xfrm>
            <a:off x="1" y="2380007"/>
            <a:ext cx="9078137" cy="2097987"/>
          </a:xfrm>
          <a:prstGeom prst="rect">
            <a:avLst/>
          </a:prstGeom>
          <a:solidFill>
            <a:srgbClr val="000000">
              <a:alpha val="47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94B76A5D-141B-0842-B835-25D23FCF156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6903" y="2581166"/>
            <a:ext cx="8584331" cy="1695669"/>
          </a:xfrm>
        </p:spPr>
        <p:txBody>
          <a:bodyPr anchor="ctr"/>
          <a:lstStyle>
            <a:lvl1pPr algn="l">
              <a:defRPr sz="4267" b="1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0E28E4A1-A0BA-E04D-9725-FD3EEFC5D478}"/>
              </a:ext>
            </a:extLst>
          </p:cNvPr>
          <p:cNvGrpSpPr/>
          <p:nvPr/>
        </p:nvGrpSpPr>
        <p:grpSpPr>
          <a:xfrm>
            <a:off x="380381" y="5836618"/>
            <a:ext cx="1973352" cy="661135"/>
            <a:chOff x="8004175" y="4794250"/>
            <a:chExt cx="862967" cy="289121"/>
          </a:xfrm>
        </p:grpSpPr>
        <p:pic>
          <p:nvPicPr>
            <p:cNvPr id="20" name="Picture 19" descr="A close up of a sign&#10;&#10;Description automatically generated">
              <a:extLst>
                <a:ext uri="{FF2B5EF4-FFF2-40B4-BE49-F238E27FC236}">
                  <a16:creationId xmlns:a16="http://schemas.microsoft.com/office/drawing/2014/main" id="{43D3134A-EDF9-AA44-9116-86F0F031EE7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brightnessContrast bright="100000"/>
                      </a14:imgEffect>
                    </a14:imgLayer>
                  </a14:imgProps>
                </a:ext>
              </a:extLst>
            </a:blip>
            <a:srcRect l="21996"/>
            <a:stretch/>
          </p:blipFill>
          <p:spPr>
            <a:xfrm>
              <a:off x="8191500" y="4794250"/>
              <a:ext cx="675642" cy="289121"/>
            </a:xfrm>
            <a:prstGeom prst="rect">
              <a:avLst/>
            </a:prstGeom>
          </p:spPr>
        </p:pic>
        <p:pic>
          <p:nvPicPr>
            <p:cNvPr id="21" name="Picture 20" descr="A close up of a sign&#10;&#10;Description automatically generated">
              <a:extLst>
                <a:ext uri="{FF2B5EF4-FFF2-40B4-BE49-F238E27FC236}">
                  <a16:creationId xmlns:a16="http://schemas.microsoft.com/office/drawing/2014/main" id="{EDF8A6A7-5FEB-DF40-A7A4-141754C9867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/>
            <a:srcRect l="369" r="78004"/>
            <a:stretch/>
          </p:blipFill>
          <p:spPr>
            <a:xfrm>
              <a:off x="8004175" y="4794250"/>
              <a:ext cx="187325" cy="28912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667598245"/>
      </p:ext>
    </p:extLst>
  </p:cSld>
  <p:clrMapOvr>
    <a:masterClrMapping/>
  </p:clrMapOvr>
  <p:transition>
    <p:fade/>
  </p:transition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Picture 17">
            <a:extLst>
              <a:ext uri="{FF2B5EF4-FFF2-40B4-BE49-F238E27FC236}">
                <a16:creationId xmlns:a16="http://schemas.microsoft.com/office/drawing/2014/main" id="{760F49FF-F92B-CF4B-9CAD-C06CBDD308CC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338" t="835" r="368" b="1"/>
          <a:stretch/>
        </p:blipFill>
        <p:spPr>
          <a:xfrm>
            <a:off x="-1" y="0"/>
            <a:ext cx="12192001" cy="6858000"/>
          </a:xfrm>
          <a:prstGeom prst="rect">
            <a:avLst/>
          </a:prstGeom>
        </p:spPr>
      </p:pic>
      <p:pic>
        <p:nvPicPr>
          <p:cNvPr id="15" name="Picture 14" descr="A picture containing large, door, covered, standing&#10;&#10;Description automatically generated">
            <a:extLst>
              <a:ext uri="{FF2B5EF4-FFF2-40B4-BE49-F238E27FC236}">
                <a16:creationId xmlns:a16="http://schemas.microsoft.com/office/drawing/2014/main" id="{F60591B3-12D1-4E48-B5EA-F5749A8A7245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3850582"/>
            <a:ext cx="7071911" cy="1682065"/>
          </a:xfrm>
          <a:prstGeom prst="rect">
            <a:avLst/>
          </a:prstGeom>
        </p:spPr>
      </p:pic>
      <p:sp>
        <p:nvSpPr>
          <p:cNvPr id="21" name="Rectangle 20">
            <a:extLst>
              <a:ext uri="{FF2B5EF4-FFF2-40B4-BE49-F238E27FC236}">
                <a16:creationId xmlns:a16="http://schemas.microsoft.com/office/drawing/2014/main" id="{60987177-7E2F-2F4C-9CAC-C2DE2235448C}"/>
              </a:ext>
            </a:extLst>
          </p:cNvPr>
          <p:cNvSpPr/>
          <p:nvPr/>
        </p:nvSpPr>
        <p:spPr>
          <a:xfrm>
            <a:off x="5159688" y="6472990"/>
            <a:ext cx="1872629" cy="25654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067">
                <a:solidFill>
                  <a:schemeClr val="bg1"/>
                </a:solidFill>
              </a:rPr>
              <a:t>Confidential and Proprietary</a:t>
            </a:r>
          </a:p>
        </p:txBody>
      </p:sp>
      <p:pic>
        <p:nvPicPr>
          <p:cNvPr id="11" name="Picture 10" descr="A picture containing drawing&#10;&#10;Description automatically generated">
            <a:extLst>
              <a:ext uri="{FF2B5EF4-FFF2-40B4-BE49-F238E27FC236}">
                <a16:creationId xmlns:a16="http://schemas.microsoft.com/office/drawing/2014/main" id="{CE89B9BC-4B06-114E-9740-347300855A9A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9829" y="440013"/>
            <a:ext cx="3882319" cy="808816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DA3B7F14-25B8-7F48-929B-ED22C68CAC80}"/>
              </a:ext>
            </a:extLst>
          </p:cNvPr>
          <p:cNvSpPr/>
          <p:nvPr/>
        </p:nvSpPr>
        <p:spPr>
          <a:xfrm rot="16200000">
            <a:off x="2698780" y="1159517"/>
            <a:ext cx="1674353" cy="7071908"/>
          </a:xfrm>
          <a:prstGeom prst="rect">
            <a:avLst/>
          </a:prstGeom>
          <a:gradFill>
            <a:gsLst>
              <a:gs pos="2655">
                <a:srgbClr val="000000">
                  <a:alpha val="57000"/>
                  <a:lumMod val="32000"/>
                </a:srgbClr>
              </a:gs>
              <a:gs pos="66000">
                <a:srgbClr val="000000">
                  <a:alpha val="17000"/>
                </a:srgbClr>
              </a:gs>
              <a:gs pos="100000">
                <a:srgbClr val="000000">
                  <a:alpha val="13000"/>
                </a:srgbClr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880"/>
          </a:p>
        </p:txBody>
      </p:sp>
      <p:sp>
        <p:nvSpPr>
          <p:cNvPr id="10" name="Text Placeholder 25">
            <a:extLst>
              <a:ext uri="{FF2B5EF4-FFF2-40B4-BE49-F238E27FC236}">
                <a16:creationId xmlns:a16="http://schemas.microsoft.com/office/drawing/2014/main" id="{6D85B695-EE81-CA4E-9127-0239DD1AF26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58375" y="4973479"/>
            <a:ext cx="6635648" cy="427512"/>
          </a:xfrm>
        </p:spPr>
        <p:txBody>
          <a:bodyPr anchor="b">
            <a:noAutofit/>
          </a:bodyPr>
          <a:lstStyle>
            <a:lvl1pPr>
              <a:defRPr sz="1467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836433F3-46AC-9142-91F3-0DDEFA12358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8375" y="4023041"/>
            <a:ext cx="6635648" cy="1061207"/>
          </a:xfrm>
        </p:spPr>
        <p:txBody>
          <a:bodyPr anchor="t"/>
          <a:lstStyle>
            <a:lvl1pPr algn="l">
              <a:defRPr sz="3200" b="1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title </a:t>
            </a:r>
            <a:br>
              <a:rPr lang="en-US"/>
            </a:br>
            <a:r>
              <a:rPr lang="en-US"/>
              <a:t>Divider Slide</a:t>
            </a:r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2DE68647-B917-8A43-B6FB-E4FA23000ECC}"/>
              </a:ext>
            </a:extLst>
          </p:cNvPr>
          <p:cNvGrpSpPr/>
          <p:nvPr/>
        </p:nvGrpSpPr>
        <p:grpSpPr>
          <a:xfrm>
            <a:off x="380381" y="5836618"/>
            <a:ext cx="1973352" cy="661135"/>
            <a:chOff x="8004175" y="4794250"/>
            <a:chExt cx="862967" cy="289121"/>
          </a:xfrm>
        </p:grpSpPr>
        <p:pic>
          <p:nvPicPr>
            <p:cNvPr id="23" name="Picture 22" descr="A close up of a sign&#10;&#10;Description automatically generated">
              <a:extLst>
                <a:ext uri="{FF2B5EF4-FFF2-40B4-BE49-F238E27FC236}">
                  <a16:creationId xmlns:a16="http://schemas.microsoft.com/office/drawing/2014/main" id="{57F13B4E-4191-4242-BBB8-4B871E369B6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brightnessContrast bright="100000"/>
                      </a14:imgEffect>
                    </a14:imgLayer>
                  </a14:imgProps>
                </a:ext>
              </a:extLst>
            </a:blip>
            <a:srcRect l="21996"/>
            <a:stretch/>
          </p:blipFill>
          <p:spPr>
            <a:xfrm>
              <a:off x="8191500" y="4794250"/>
              <a:ext cx="675642" cy="289121"/>
            </a:xfrm>
            <a:prstGeom prst="rect">
              <a:avLst/>
            </a:prstGeom>
          </p:spPr>
        </p:pic>
        <p:pic>
          <p:nvPicPr>
            <p:cNvPr id="24" name="Picture 23" descr="A close up of a sign&#10;&#10;Description automatically generated">
              <a:extLst>
                <a:ext uri="{FF2B5EF4-FFF2-40B4-BE49-F238E27FC236}">
                  <a16:creationId xmlns:a16="http://schemas.microsoft.com/office/drawing/2014/main" id="{32D339BB-8641-F44A-8CD6-C89C4D5225D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/>
            <a:srcRect l="369" r="78004"/>
            <a:stretch/>
          </p:blipFill>
          <p:spPr>
            <a:xfrm>
              <a:off x="8004175" y="4794250"/>
              <a:ext cx="187325" cy="28912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376664041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3122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_1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>
            <a:extLst>
              <a:ext uri="{FF2B5EF4-FFF2-40B4-BE49-F238E27FC236}">
                <a16:creationId xmlns:a16="http://schemas.microsoft.com/office/drawing/2014/main" id="{FDFDD9A1-ACAA-484B-9FCF-329540B1C7EB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806" t="632" r="943" b="1456"/>
          <a:stretch/>
        </p:blipFill>
        <p:spPr>
          <a:xfrm>
            <a:off x="2700761" y="-15603"/>
            <a:ext cx="9491239" cy="6873604"/>
          </a:xfrm>
          <a:prstGeom prst="rect">
            <a:avLst/>
          </a:prstGeom>
        </p:spPr>
      </p:pic>
      <p:sp>
        <p:nvSpPr>
          <p:cNvPr id="18" name="Rectangle 17">
            <a:extLst>
              <a:ext uri="{FF2B5EF4-FFF2-40B4-BE49-F238E27FC236}">
                <a16:creationId xmlns:a16="http://schemas.microsoft.com/office/drawing/2014/main" id="{EC3913F3-51D8-BE4A-A8E5-CA54FA3BBA88}"/>
              </a:ext>
            </a:extLst>
          </p:cNvPr>
          <p:cNvSpPr/>
          <p:nvPr/>
        </p:nvSpPr>
        <p:spPr>
          <a:xfrm>
            <a:off x="2763252" y="0"/>
            <a:ext cx="9209337" cy="6858000"/>
          </a:xfrm>
          <a:prstGeom prst="rect">
            <a:avLst/>
          </a:prstGeom>
          <a:gradFill>
            <a:gsLst>
              <a:gs pos="34000">
                <a:schemeClr val="tx1">
                  <a:alpha val="18000"/>
                  <a:lumMod val="87000"/>
                </a:schemeClr>
              </a:gs>
              <a:gs pos="56000">
                <a:schemeClr val="bg1">
                  <a:alpha val="0"/>
                  <a:lumMod val="52000"/>
                  <a:lumOff val="48000"/>
                </a:schemeClr>
              </a:gs>
            </a:gsLst>
            <a:lin ang="36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731BB7A9-C5C0-DF4B-9FCD-28DD16890951}"/>
              </a:ext>
            </a:extLst>
          </p:cNvPr>
          <p:cNvSpPr/>
          <p:nvPr/>
        </p:nvSpPr>
        <p:spPr>
          <a:xfrm>
            <a:off x="2763251" y="0"/>
            <a:ext cx="3842484" cy="6858000"/>
          </a:xfrm>
          <a:prstGeom prst="rect">
            <a:avLst/>
          </a:prstGeom>
          <a:gradFill>
            <a:gsLst>
              <a:gs pos="100000">
                <a:srgbClr val="000000">
                  <a:alpha val="0"/>
                </a:srgbClr>
              </a:gs>
              <a:gs pos="0">
                <a:srgbClr val="000000">
                  <a:alpha val="36000"/>
                </a:srgbClr>
              </a:gs>
            </a:gsLst>
            <a:lin ang="210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D9D516E8-214B-9547-9951-10BE8A606ED0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9224" t="388" r="9108" b="452"/>
          <a:stretch/>
        </p:blipFill>
        <p:spPr>
          <a:xfrm>
            <a:off x="0" y="0"/>
            <a:ext cx="2763251" cy="6858000"/>
          </a:xfrm>
          <a:prstGeom prst="rect">
            <a:avLst/>
          </a:prstGeom>
        </p:spPr>
      </p:pic>
      <p:sp>
        <p:nvSpPr>
          <p:cNvPr id="30" name="Rectangle 29">
            <a:extLst>
              <a:ext uri="{FF2B5EF4-FFF2-40B4-BE49-F238E27FC236}">
                <a16:creationId xmlns:a16="http://schemas.microsoft.com/office/drawing/2014/main" id="{F6AE2D78-5EF4-E243-84C9-A76DF898C39A}"/>
              </a:ext>
            </a:extLst>
          </p:cNvPr>
          <p:cNvSpPr/>
          <p:nvPr/>
        </p:nvSpPr>
        <p:spPr>
          <a:xfrm>
            <a:off x="5159688" y="6472990"/>
            <a:ext cx="1872629" cy="25654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067">
                <a:solidFill>
                  <a:schemeClr val="bg1"/>
                </a:solidFill>
              </a:rPr>
              <a:t>Confidential and Proprietary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9F6DD800-756F-D34F-9E10-8A7D15863EB5}"/>
              </a:ext>
            </a:extLst>
          </p:cNvPr>
          <p:cNvSpPr/>
          <p:nvPr/>
        </p:nvSpPr>
        <p:spPr>
          <a:xfrm>
            <a:off x="3133215" y="4373397"/>
            <a:ext cx="9058787" cy="2097987"/>
          </a:xfrm>
          <a:prstGeom prst="rect">
            <a:avLst/>
          </a:prstGeom>
          <a:solidFill>
            <a:srgbClr val="000000">
              <a:alpha val="47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17BB80F3-0158-3343-9F59-79905DC60D6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58392" y="4672422"/>
            <a:ext cx="8623680" cy="1177609"/>
          </a:xfrm>
        </p:spPr>
        <p:txBody>
          <a:bodyPr anchor="t"/>
          <a:lstStyle>
            <a:lvl1pPr algn="l">
              <a:defRPr sz="4267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</a:t>
            </a:r>
            <a:br>
              <a:rPr lang="en-US"/>
            </a:br>
            <a:r>
              <a:rPr lang="en-US"/>
              <a:t>Cover text styles</a:t>
            </a:r>
          </a:p>
        </p:txBody>
      </p:sp>
      <p:sp>
        <p:nvSpPr>
          <p:cNvPr id="15" name="Text Placeholder 25">
            <a:extLst>
              <a:ext uri="{FF2B5EF4-FFF2-40B4-BE49-F238E27FC236}">
                <a16:creationId xmlns:a16="http://schemas.microsoft.com/office/drawing/2014/main" id="{F5C400DA-8D75-7E48-8CAB-5D30E8E70F0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358107" y="5874717"/>
            <a:ext cx="8623680" cy="333259"/>
          </a:xfrm>
        </p:spPr>
        <p:txBody>
          <a:bodyPr anchor="t">
            <a:noAutofit/>
          </a:bodyPr>
          <a:lstStyle>
            <a:lvl1pPr>
              <a:defRPr sz="1467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Cover</a:t>
            </a:r>
          </a:p>
        </p:txBody>
      </p:sp>
      <p:grpSp>
        <p:nvGrpSpPr>
          <p:cNvPr id="23" name="Group 22">
            <a:extLst>
              <a:ext uri="{FF2B5EF4-FFF2-40B4-BE49-F238E27FC236}">
                <a16:creationId xmlns:a16="http://schemas.microsoft.com/office/drawing/2014/main" id="{E652F28F-3220-EE4E-BE85-8150E0598A1F}"/>
              </a:ext>
            </a:extLst>
          </p:cNvPr>
          <p:cNvGrpSpPr/>
          <p:nvPr/>
        </p:nvGrpSpPr>
        <p:grpSpPr>
          <a:xfrm>
            <a:off x="380381" y="5836618"/>
            <a:ext cx="1973352" cy="661135"/>
            <a:chOff x="8004175" y="4794250"/>
            <a:chExt cx="862967" cy="289121"/>
          </a:xfrm>
        </p:grpSpPr>
        <p:pic>
          <p:nvPicPr>
            <p:cNvPr id="24" name="Picture 23" descr="A close up of a sign&#10;&#10;Description automatically generated">
              <a:extLst>
                <a:ext uri="{FF2B5EF4-FFF2-40B4-BE49-F238E27FC236}">
                  <a16:creationId xmlns:a16="http://schemas.microsoft.com/office/drawing/2014/main" id="{5A039134-FE78-DE46-AEA0-7FC8E217AEB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brightnessContrast bright="100000"/>
                      </a14:imgEffect>
                    </a14:imgLayer>
                  </a14:imgProps>
                </a:ext>
              </a:extLst>
            </a:blip>
            <a:srcRect l="21996"/>
            <a:stretch/>
          </p:blipFill>
          <p:spPr>
            <a:xfrm>
              <a:off x="8191500" y="4794250"/>
              <a:ext cx="675642" cy="289121"/>
            </a:xfrm>
            <a:prstGeom prst="rect">
              <a:avLst/>
            </a:prstGeom>
          </p:spPr>
        </p:pic>
        <p:pic>
          <p:nvPicPr>
            <p:cNvPr id="25" name="Picture 24" descr="A close up of a sign&#10;&#10;Description automatically generated">
              <a:extLst>
                <a:ext uri="{FF2B5EF4-FFF2-40B4-BE49-F238E27FC236}">
                  <a16:creationId xmlns:a16="http://schemas.microsoft.com/office/drawing/2014/main" id="{FD3449C7-F677-9141-AA7E-C21D4D1B3CE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/>
            <a:srcRect l="369" r="78004"/>
            <a:stretch/>
          </p:blipFill>
          <p:spPr>
            <a:xfrm>
              <a:off x="8004175" y="4794250"/>
              <a:ext cx="187325" cy="289121"/>
            </a:xfrm>
            <a:prstGeom prst="rect">
              <a:avLst/>
            </a:prstGeom>
          </p:spPr>
        </p:pic>
      </p:grpSp>
      <p:pic>
        <p:nvPicPr>
          <p:cNvPr id="31" name="Picture 30" descr="A picture containing drawing&#10;&#10;Description automatically generated">
            <a:extLst>
              <a:ext uri="{FF2B5EF4-FFF2-40B4-BE49-F238E27FC236}">
                <a16:creationId xmlns:a16="http://schemas.microsoft.com/office/drawing/2014/main" id="{D7F7B885-CE7E-924E-8B3E-3ABEDC5A92E5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1915" y="396961"/>
            <a:ext cx="5862636" cy="12213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8209242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312">
          <p15:clr>
            <a:srgbClr val="FBAE40"/>
          </p15:clr>
        </p15:guide>
        <p15:guide id="2" pos="2880">
          <p15:clr>
            <a:srgbClr val="FBAE40"/>
          </p15:clr>
        </p15:guide>
        <p15:guide id="3" orient="horz" pos="3120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_2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7DAFAF5D-CDB1-A544-8751-719D1BF6D388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2660" y="0"/>
            <a:ext cx="8304355" cy="6858000"/>
          </a:xfrm>
          <a:prstGeom prst="rect">
            <a:avLst/>
          </a:prstGeom>
        </p:spPr>
      </p:pic>
      <p:sp>
        <p:nvSpPr>
          <p:cNvPr id="17" name="Rectangle 16">
            <a:extLst>
              <a:ext uri="{FF2B5EF4-FFF2-40B4-BE49-F238E27FC236}">
                <a16:creationId xmlns:a16="http://schemas.microsoft.com/office/drawing/2014/main" id="{0FF61621-9653-824B-9D09-B6F7BD756DB6}"/>
              </a:ext>
            </a:extLst>
          </p:cNvPr>
          <p:cNvSpPr/>
          <p:nvPr/>
        </p:nvSpPr>
        <p:spPr>
          <a:xfrm rot="16200000">
            <a:off x="2783243" y="-681722"/>
            <a:ext cx="2743200" cy="8309677"/>
          </a:xfrm>
          <a:prstGeom prst="rect">
            <a:avLst/>
          </a:prstGeom>
          <a:solidFill>
            <a:srgbClr val="000000">
              <a:alpha val="47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880"/>
          </a:p>
        </p:txBody>
      </p:sp>
      <p:pic>
        <p:nvPicPr>
          <p:cNvPr id="14" name="Picture 13" descr="A picture containing drawing&#10;&#10;Description automatically generated">
            <a:extLst>
              <a:ext uri="{FF2B5EF4-FFF2-40B4-BE49-F238E27FC236}">
                <a16:creationId xmlns:a16="http://schemas.microsoft.com/office/drawing/2014/main" id="{80D211F2-05B3-034E-B1C2-9F8DA5FDD13D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9829" y="440013"/>
            <a:ext cx="3882319" cy="808816"/>
          </a:xfrm>
          <a:prstGeom prst="rect">
            <a:avLst/>
          </a:prstGeom>
        </p:spPr>
      </p:pic>
      <p:sp>
        <p:nvSpPr>
          <p:cNvPr id="26" name="Rectangle 25">
            <a:extLst>
              <a:ext uri="{FF2B5EF4-FFF2-40B4-BE49-F238E27FC236}">
                <a16:creationId xmlns:a16="http://schemas.microsoft.com/office/drawing/2014/main" id="{D842B18D-C2CA-2D48-ACF3-F2641DE00CE4}"/>
              </a:ext>
            </a:extLst>
          </p:cNvPr>
          <p:cNvSpPr/>
          <p:nvPr/>
        </p:nvSpPr>
        <p:spPr>
          <a:xfrm>
            <a:off x="5159687" y="6472990"/>
            <a:ext cx="1872629" cy="25654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ctr"/>
            <a:r>
              <a:rPr lang="en-US" sz="1067">
                <a:solidFill>
                  <a:schemeClr val="bg1"/>
                </a:solidFill>
              </a:rPr>
              <a:t>Confidential and Proprietary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365F1266-E355-124D-9E12-53DECCDF2AEE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679" t="-1" b="378"/>
          <a:stretch/>
        </p:blipFill>
        <p:spPr>
          <a:xfrm>
            <a:off x="7982584" y="0"/>
            <a:ext cx="4209417" cy="6858000"/>
          </a:xfrm>
          <a:prstGeom prst="rect">
            <a:avLst/>
          </a:prstGeom>
        </p:spPr>
      </p:pic>
      <p:sp>
        <p:nvSpPr>
          <p:cNvPr id="18" name="Title 1">
            <a:extLst>
              <a:ext uri="{FF2B5EF4-FFF2-40B4-BE49-F238E27FC236}">
                <a16:creationId xmlns:a16="http://schemas.microsoft.com/office/drawing/2014/main" id="{A6E42490-4EAF-0F4D-B1C4-8CDFACCC2E8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8287" y="2323254"/>
            <a:ext cx="7453459" cy="1611085"/>
          </a:xfrm>
        </p:spPr>
        <p:txBody>
          <a:bodyPr anchor="t"/>
          <a:lstStyle>
            <a:lvl1pPr algn="l">
              <a:defRPr sz="5333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</a:t>
            </a:r>
            <a:br>
              <a:rPr lang="en-US"/>
            </a:br>
            <a:r>
              <a:rPr lang="en-US"/>
              <a:t>Template Cover</a:t>
            </a:r>
          </a:p>
        </p:txBody>
      </p:sp>
      <p:sp>
        <p:nvSpPr>
          <p:cNvPr id="20" name="Text Placeholder 4">
            <a:extLst>
              <a:ext uri="{FF2B5EF4-FFF2-40B4-BE49-F238E27FC236}">
                <a16:creationId xmlns:a16="http://schemas.microsoft.com/office/drawing/2014/main" id="{3B0857EE-2952-F74A-AB8C-E727CAA4370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08001" y="3972048"/>
            <a:ext cx="7453743" cy="501651"/>
          </a:xfrm>
        </p:spPr>
        <p:txBody>
          <a:bodyPr>
            <a:normAutofit/>
          </a:bodyPr>
          <a:lstStyle>
            <a:lvl1pPr algn="l">
              <a:defRPr sz="1867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Cover text styles</a:t>
            </a:r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013C27FB-7571-2C43-BE98-4A478BA1AC48}"/>
              </a:ext>
            </a:extLst>
          </p:cNvPr>
          <p:cNvGrpSpPr/>
          <p:nvPr/>
        </p:nvGrpSpPr>
        <p:grpSpPr>
          <a:xfrm>
            <a:off x="380381" y="5836618"/>
            <a:ext cx="1973352" cy="661135"/>
            <a:chOff x="8004175" y="4794250"/>
            <a:chExt cx="862967" cy="289121"/>
          </a:xfrm>
        </p:grpSpPr>
        <p:pic>
          <p:nvPicPr>
            <p:cNvPr id="23" name="Picture 22" descr="A close up of a sign&#10;&#10;Description automatically generated">
              <a:extLst>
                <a:ext uri="{FF2B5EF4-FFF2-40B4-BE49-F238E27FC236}">
                  <a16:creationId xmlns:a16="http://schemas.microsoft.com/office/drawing/2014/main" id="{D24EEDFE-2871-BC47-8785-5A3A37020B2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brightnessContrast bright="100000"/>
                      </a14:imgEffect>
                    </a14:imgLayer>
                  </a14:imgProps>
                </a:ext>
              </a:extLst>
            </a:blip>
            <a:srcRect l="21996"/>
            <a:stretch/>
          </p:blipFill>
          <p:spPr>
            <a:xfrm>
              <a:off x="8191500" y="4794250"/>
              <a:ext cx="675642" cy="289121"/>
            </a:xfrm>
            <a:prstGeom prst="rect">
              <a:avLst/>
            </a:prstGeom>
          </p:spPr>
        </p:pic>
        <p:pic>
          <p:nvPicPr>
            <p:cNvPr id="24" name="Picture 23" descr="A close up of a sign&#10;&#10;Description automatically generated">
              <a:extLst>
                <a:ext uri="{FF2B5EF4-FFF2-40B4-BE49-F238E27FC236}">
                  <a16:creationId xmlns:a16="http://schemas.microsoft.com/office/drawing/2014/main" id="{700879FF-92D5-2240-9FC0-AAE3C1BFE4F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/>
            <a:srcRect l="369" r="78004"/>
            <a:stretch/>
          </p:blipFill>
          <p:spPr>
            <a:xfrm>
              <a:off x="8004175" y="4794250"/>
              <a:ext cx="187325" cy="28912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76020265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5527">
          <p15:clr>
            <a:srgbClr val="FBAE40"/>
          </p15:clr>
        </p15:guide>
        <p15:guide id="2" pos="312">
          <p15:clr>
            <a:srgbClr val="FBAE40"/>
          </p15:clr>
        </p15:guide>
        <p15:guide id="3" orient="horz" pos="3108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EE0AA4A-BDF6-5B4A-84AE-EDC943B6DD6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83395" y="889001"/>
            <a:ext cx="11425211" cy="45974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l" defTabSz="609585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None/>
              <a:defRPr lang="en-US" sz="2400" b="0" i="0" kern="1200" dirty="0">
                <a:solidFill>
                  <a:schemeClr val="accent2"/>
                </a:solidFill>
                <a:latin typeface="+mj-lt"/>
                <a:ea typeface="Helvetica Neue Thin" panose="020B0403020202020204" pitchFamily="34" charset="0"/>
                <a:cs typeface="+mn-cs"/>
              </a:defRPr>
            </a:lvl1pPr>
          </a:lstStyle>
          <a:p>
            <a:pPr marL="160863" lvl="0" indent="-160863" algn="l" defTabSz="609585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None/>
            </a:pPr>
            <a:r>
              <a:rPr lang="en-US"/>
              <a:t>Click to add subtitle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05520C5E-DF02-6749-84F3-5F328EE0B41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anchor="t"/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7FBDD9F9-47A7-2F4D-9FB4-D35E03D97B8A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83394" y="1348740"/>
            <a:ext cx="11425209" cy="452712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 lang="en-US" dirty="0"/>
            </a:lvl1pPr>
            <a:lvl2pPr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tabLst/>
              <a:defRPr lang="en-US" sz="2400" b="0" i="0" kern="1200" baseline="0" dirty="0" smtClean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2pPr>
            <a:lvl3pPr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tabLst/>
              <a:defRPr lang="en-US" sz="2400" b="0" i="0" kern="1200" baseline="0" dirty="0" smtClean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3pPr>
            <a:lvl4pPr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buSzPct val="93000"/>
              <a:tabLst/>
              <a:defRPr lang="en-US" sz="2400" b="0" i="0" kern="1200" baseline="0" dirty="0" smtClean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4pPr>
            <a:lvl5pPr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tabLst/>
              <a:defRPr lang="en-US" sz="2400" b="0" i="0" kern="1200" baseline="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5pPr>
          </a:lstStyle>
          <a:p>
            <a:pPr lvl="1"/>
            <a:r>
              <a:rPr lang="en-US"/>
              <a:t>First level bullet</a:t>
            </a:r>
          </a:p>
          <a:p>
            <a:pPr lvl="2"/>
            <a:r>
              <a:rPr lang="en-US"/>
              <a:t>Second level bullet</a:t>
            </a:r>
          </a:p>
          <a:p>
            <a:pPr lvl="3"/>
            <a:r>
              <a:rPr lang="en-US"/>
              <a:t>Third level bullet</a:t>
            </a:r>
          </a:p>
          <a:p>
            <a:pPr lvl="4"/>
            <a:r>
              <a:rPr lang="en-US"/>
              <a:t>Fourth level bullet</a:t>
            </a:r>
          </a:p>
        </p:txBody>
      </p:sp>
      <p:sp>
        <p:nvSpPr>
          <p:cNvPr id="8" name="Slide Number Placeholder 2">
            <a:extLst>
              <a:ext uri="{FF2B5EF4-FFF2-40B4-BE49-F238E27FC236}">
                <a16:creationId xmlns:a16="http://schemas.microsoft.com/office/drawing/2014/main" id="{74103146-0ED8-B043-B2AD-C9BAFBB70F5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bg1"/>
                </a:solidFill>
              </a:defRPr>
            </a:lvl1pPr>
          </a:lstStyle>
          <a:p>
            <a:fld id="{F531C153-56E2-4D58-BF8C-84423A751AD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51402360"/>
      </p:ext>
    </p:extLst>
  </p:cSld>
  <p:clrMapOvr>
    <a:masterClrMapping/>
  </p:clrMapOvr>
  <p:transition>
    <p:fade/>
  </p:transition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D67A53AE-C40D-DC47-B687-7A09C4D60FEE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595" t="595" r="537" b="595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5" name="Rectangle 14">
            <a:extLst>
              <a:ext uri="{FF2B5EF4-FFF2-40B4-BE49-F238E27FC236}">
                <a16:creationId xmlns:a16="http://schemas.microsoft.com/office/drawing/2014/main" id="{5E2CF6DA-9596-9045-844D-C6A891DC4116}"/>
              </a:ext>
            </a:extLst>
          </p:cNvPr>
          <p:cNvSpPr/>
          <p:nvPr/>
        </p:nvSpPr>
        <p:spPr>
          <a:xfrm>
            <a:off x="5159688" y="6472990"/>
            <a:ext cx="1872629" cy="25654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067">
                <a:solidFill>
                  <a:schemeClr val="bg1"/>
                </a:solidFill>
              </a:rPr>
              <a:t>Confidential and Proprietary</a:t>
            </a:r>
          </a:p>
        </p:txBody>
      </p:sp>
      <p:pic>
        <p:nvPicPr>
          <p:cNvPr id="8" name="Picture 7" descr="A picture containing drawing&#10;&#10;Description automatically generated">
            <a:extLst>
              <a:ext uri="{FF2B5EF4-FFF2-40B4-BE49-F238E27FC236}">
                <a16:creationId xmlns:a16="http://schemas.microsoft.com/office/drawing/2014/main" id="{1B99D566-C897-AF42-A1EE-C45EB3177863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9829" y="440013"/>
            <a:ext cx="3882319" cy="808816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8F692F4C-66BB-6649-8C2C-C8B4A1633A03}"/>
              </a:ext>
            </a:extLst>
          </p:cNvPr>
          <p:cNvSpPr/>
          <p:nvPr/>
        </p:nvSpPr>
        <p:spPr>
          <a:xfrm>
            <a:off x="1" y="2380007"/>
            <a:ext cx="9078137" cy="2097987"/>
          </a:xfrm>
          <a:prstGeom prst="rect">
            <a:avLst/>
          </a:prstGeom>
          <a:solidFill>
            <a:srgbClr val="000000">
              <a:alpha val="47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D37581A4-48CD-EC41-BE7E-02EBA334E75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6903" y="2581166"/>
            <a:ext cx="8584331" cy="1695669"/>
          </a:xfrm>
        </p:spPr>
        <p:txBody>
          <a:bodyPr anchor="ctr"/>
          <a:lstStyle>
            <a:lvl1pPr algn="l">
              <a:defRPr sz="4267" b="1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1B731C6F-B8D5-DA4E-BD03-69BB2E7D9AA1}"/>
              </a:ext>
            </a:extLst>
          </p:cNvPr>
          <p:cNvGrpSpPr/>
          <p:nvPr/>
        </p:nvGrpSpPr>
        <p:grpSpPr>
          <a:xfrm>
            <a:off x="380381" y="5836618"/>
            <a:ext cx="1973352" cy="661135"/>
            <a:chOff x="8004175" y="4794250"/>
            <a:chExt cx="862967" cy="289121"/>
          </a:xfrm>
        </p:grpSpPr>
        <p:pic>
          <p:nvPicPr>
            <p:cNvPr id="20" name="Picture 19" descr="A close up of a sign&#10;&#10;Description automatically generated">
              <a:extLst>
                <a:ext uri="{FF2B5EF4-FFF2-40B4-BE49-F238E27FC236}">
                  <a16:creationId xmlns:a16="http://schemas.microsoft.com/office/drawing/2014/main" id="{044D554D-4BB2-2845-8E43-BC7565E3B2A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brightnessContrast bright="100000"/>
                      </a14:imgEffect>
                    </a14:imgLayer>
                  </a14:imgProps>
                </a:ext>
              </a:extLst>
            </a:blip>
            <a:srcRect l="21996"/>
            <a:stretch/>
          </p:blipFill>
          <p:spPr>
            <a:xfrm>
              <a:off x="8191500" y="4794250"/>
              <a:ext cx="675642" cy="289121"/>
            </a:xfrm>
            <a:prstGeom prst="rect">
              <a:avLst/>
            </a:prstGeom>
          </p:spPr>
        </p:pic>
        <p:pic>
          <p:nvPicPr>
            <p:cNvPr id="21" name="Picture 20" descr="A close up of a sign&#10;&#10;Description automatically generated">
              <a:extLst>
                <a:ext uri="{FF2B5EF4-FFF2-40B4-BE49-F238E27FC236}">
                  <a16:creationId xmlns:a16="http://schemas.microsoft.com/office/drawing/2014/main" id="{C38D4122-43FD-B941-94FB-A611D4BCE1D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/>
            <a:srcRect l="369" r="78004"/>
            <a:stretch/>
          </p:blipFill>
          <p:spPr>
            <a:xfrm>
              <a:off x="8004175" y="4794250"/>
              <a:ext cx="187325" cy="28912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868236904"/>
      </p:ext>
    </p:extLst>
  </p:cSld>
  <p:clrMapOvr>
    <a:masterClrMapping/>
  </p:clrMapOvr>
  <p:transition>
    <p:fade/>
  </p:transition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37693140-4E96-CA43-B4DD-89C6758A92D5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0" y="1338"/>
            <a:ext cx="12192000" cy="6855325"/>
          </a:xfrm>
          <a:prstGeom prst="rect">
            <a:avLst/>
          </a:prstGeom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4182C4F3-C10A-5547-A00E-B76DB7E8D2C7}"/>
              </a:ext>
            </a:extLst>
          </p:cNvPr>
          <p:cNvSpPr/>
          <p:nvPr/>
        </p:nvSpPr>
        <p:spPr>
          <a:xfrm>
            <a:off x="-3" y="0"/>
            <a:ext cx="3842484" cy="6858000"/>
          </a:xfrm>
          <a:prstGeom prst="rect">
            <a:avLst/>
          </a:prstGeom>
          <a:gradFill>
            <a:gsLst>
              <a:gs pos="100000">
                <a:srgbClr val="000000">
                  <a:alpha val="0"/>
                </a:srgbClr>
              </a:gs>
              <a:gs pos="0">
                <a:srgbClr val="000000">
                  <a:alpha val="36000"/>
                </a:srgbClr>
              </a:gs>
            </a:gsLst>
            <a:lin ang="210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BA7B8AF8-99B8-DE46-AC24-8E239E5915AC}"/>
              </a:ext>
            </a:extLst>
          </p:cNvPr>
          <p:cNvSpPr/>
          <p:nvPr/>
        </p:nvSpPr>
        <p:spPr>
          <a:xfrm rot="16200000">
            <a:off x="2666997" y="-2666994"/>
            <a:ext cx="6858003" cy="12191993"/>
          </a:xfrm>
          <a:prstGeom prst="rect">
            <a:avLst/>
          </a:prstGeom>
          <a:gradFill>
            <a:gsLst>
              <a:gs pos="33000">
                <a:srgbClr val="000000">
                  <a:alpha val="0"/>
                </a:srgbClr>
              </a:gs>
              <a:gs pos="66000">
                <a:srgbClr val="000000">
                  <a:alpha val="0"/>
                </a:srgbClr>
              </a:gs>
              <a:gs pos="99000">
                <a:srgbClr val="000000">
                  <a:alpha val="37000"/>
                </a:srgbClr>
              </a:gs>
            </a:gsLst>
            <a:lin ang="168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880"/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C0430A81-67F4-0A43-B7B6-17B89582D9CF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-40000" contrast="-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3858293"/>
            <a:ext cx="7071909" cy="1699244"/>
          </a:xfrm>
          <a:prstGeom prst="rect">
            <a:avLst/>
          </a:prstGeom>
        </p:spPr>
      </p:pic>
      <p:sp>
        <p:nvSpPr>
          <p:cNvPr id="21" name="Rectangle 20">
            <a:extLst>
              <a:ext uri="{FF2B5EF4-FFF2-40B4-BE49-F238E27FC236}">
                <a16:creationId xmlns:a16="http://schemas.microsoft.com/office/drawing/2014/main" id="{60987177-7E2F-2F4C-9CAC-C2DE2235448C}"/>
              </a:ext>
            </a:extLst>
          </p:cNvPr>
          <p:cNvSpPr/>
          <p:nvPr/>
        </p:nvSpPr>
        <p:spPr>
          <a:xfrm>
            <a:off x="5159687" y="6472990"/>
            <a:ext cx="1872629" cy="25654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ctr"/>
            <a:r>
              <a:rPr lang="en-US" sz="1067">
                <a:solidFill>
                  <a:schemeClr val="bg1"/>
                </a:solidFill>
              </a:rPr>
              <a:t>Confidential and Proprietary</a:t>
            </a:r>
          </a:p>
        </p:txBody>
      </p:sp>
      <p:pic>
        <p:nvPicPr>
          <p:cNvPr id="11" name="Picture 10" descr="A picture containing drawing&#10;&#10;Description automatically generated">
            <a:extLst>
              <a:ext uri="{FF2B5EF4-FFF2-40B4-BE49-F238E27FC236}">
                <a16:creationId xmlns:a16="http://schemas.microsoft.com/office/drawing/2014/main" id="{CE89B9BC-4B06-114E-9740-347300855A9A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9829" y="440013"/>
            <a:ext cx="3882319" cy="808816"/>
          </a:xfrm>
          <a:prstGeom prst="rect">
            <a:avLst/>
          </a:prstGeom>
        </p:spPr>
      </p:pic>
      <p:sp>
        <p:nvSpPr>
          <p:cNvPr id="17" name="Rectangle 16">
            <a:extLst>
              <a:ext uri="{FF2B5EF4-FFF2-40B4-BE49-F238E27FC236}">
                <a16:creationId xmlns:a16="http://schemas.microsoft.com/office/drawing/2014/main" id="{DFD1DCC9-C2A9-0E42-B7F6-6AF1AC55CD53}"/>
              </a:ext>
            </a:extLst>
          </p:cNvPr>
          <p:cNvSpPr/>
          <p:nvPr/>
        </p:nvSpPr>
        <p:spPr>
          <a:xfrm rot="16200000">
            <a:off x="2686333" y="1171961"/>
            <a:ext cx="1699243" cy="7071908"/>
          </a:xfrm>
          <a:prstGeom prst="rect">
            <a:avLst/>
          </a:prstGeom>
          <a:gradFill>
            <a:gsLst>
              <a:gs pos="2655">
                <a:srgbClr val="000000">
                  <a:alpha val="57000"/>
                  <a:lumMod val="32000"/>
                </a:srgbClr>
              </a:gs>
              <a:gs pos="66000">
                <a:srgbClr val="000000">
                  <a:alpha val="17000"/>
                </a:srgbClr>
              </a:gs>
              <a:gs pos="100000">
                <a:srgbClr val="000000">
                  <a:alpha val="13000"/>
                </a:srgbClr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880"/>
          </a:p>
        </p:txBody>
      </p:sp>
      <p:sp>
        <p:nvSpPr>
          <p:cNvPr id="18" name="Text Placeholder 25">
            <a:extLst>
              <a:ext uri="{FF2B5EF4-FFF2-40B4-BE49-F238E27FC236}">
                <a16:creationId xmlns:a16="http://schemas.microsoft.com/office/drawing/2014/main" id="{5A2EFD5D-A902-8D4B-A3F7-1AAEF32EE33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58375" y="4973479"/>
            <a:ext cx="6635648" cy="427512"/>
          </a:xfrm>
        </p:spPr>
        <p:txBody>
          <a:bodyPr anchor="b">
            <a:noAutofit/>
          </a:bodyPr>
          <a:lstStyle>
            <a:lvl1pPr>
              <a:defRPr sz="1467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itle 1">
            <a:extLst>
              <a:ext uri="{FF2B5EF4-FFF2-40B4-BE49-F238E27FC236}">
                <a16:creationId xmlns:a16="http://schemas.microsoft.com/office/drawing/2014/main" id="{A435467C-211F-2A43-BCC6-CEC48EF2D9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8375" y="4023041"/>
            <a:ext cx="6635648" cy="1061207"/>
          </a:xfrm>
        </p:spPr>
        <p:txBody>
          <a:bodyPr anchor="t"/>
          <a:lstStyle>
            <a:lvl1pPr algn="l">
              <a:defRPr sz="3200" b="1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title </a:t>
            </a:r>
            <a:br>
              <a:rPr lang="en-US"/>
            </a:br>
            <a:r>
              <a:rPr lang="en-US"/>
              <a:t>Divider Slide</a:t>
            </a:r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8D2DBC7A-1133-E24F-BC6C-76A5B91485FC}"/>
              </a:ext>
            </a:extLst>
          </p:cNvPr>
          <p:cNvGrpSpPr/>
          <p:nvPr/>
        </p:nvGrpSpPr>
        <p:grpSpPr>
          <a:xfrm>
            <a:off x="380381" y="5836618"/>
            <a:ext cx="1973352" cy="661135"/>
            <a:chOff x="8004175" y="4794250"/>
            <a:chExt cx="862967" cy="289121"/>
          </a:xfrm>
        </p:grpSpPr>
        <p:pic>
          <p:nvPicPr>
            <p:cNvPr id="28" name="Picture 27" descr="A close up of a sign&#10;&#10;Description automatically generated">
              <a:extLst>
                <a:ext uri="{FF2B5EF4-FFF2-40B4-BE49-F238E27FC236}">
                  <a16:creationId xmlns:a16="http://schemas.microsoft.com/office/drawing/2014/main" id="{6443DEF0-3C96-CC42-849D-B3F5C615321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>
              <a:extLst>
                <a:ext uri="{BEBA8EAE-BF5A-486C-A8C5-ECC9F3942E4B}">
                  <a14:imgProps xmlns:a14="http://schemas.microsoft.com/office/drawing/2010/main">
                    <a14:imgLayer r:embed="rId7">
                      <a14:imgEffect>
                        <a14:brightnessContrast bright="100000"/>
                      </a14:imgEffect>
                    </a14:imgLayer>
                  </a14:imgProps>
                </a:ext>
              </a:extLst>
            </a:blip>
            <a:srcRect l="21996"/>
            <a:stretch/>
          </p:blipFill>
          <p:spPr>
            <a:xfrm>
              <a:off x="8191500" y="4794250"/>
              <a:ext cx="675642" cy="289121"/>
            </a:xfrm>
            <a:prstGeom prst="rect">
              <a:avLst/>
            </a:prstGeom>
          </p:spPr>
        </p:pic>
        <p:pic>
          <p:nvPicPr>
            <p:cNvPr id="29" name="Picture 28" descr="A close up of a sign&#10;&#10;Description automatically generated">
              <a:extLst>
                <a:ext uri="{FF2B5EF4-FFF2-40B4-BE49-F238E27FC236}">
                  <a16:creationId xmlns:a16="http://schemas.microsoft.com/office/drawing/2014/main" id="{DAE74374-E29C-1644-9A5C-1C54E35EFAB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/>
            <a:srcRect l="369" r="78004"/>
            <a:stretch/>
          </p:blipFill>
          <p:spPr>
            <a:xfrm>
              <a:off x="8004175" y="4794250"/>
              <a:ext cx="187325" cy="28912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619444864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3122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_1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person standing in front of a building&#10;&#10;Description automatically generated">
            <a:extLst>
              <a:ext uri="{FF2B5EF4-FFF2-40B4-BE49-F238E27FC236}">
                <a16:creationId xmlns:a16="http://schemas.microsoft.com/office/drawing/2014/main" id="{978B4277-F5CC-C74E-BA31-3779FCC32397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793" t="393" b="1245"/>
          <a:stretch/>
        </p:blipFill>
        <p:spPr>
          <a:xfrm>
            <a:off x="2685327" y="0"/>
            <a:ext cx="9506673" cy="6858000"/>
          </a:xfrm>
          <a:prstGeom prst="rect">
            <a:avLst/>
          </a:prstGeom>
        </p:spPr>
      </p:pic>
      <p:pic>
        <p:nvPicPr>
          <p:cNvPr id="7" name="Picture 6" descr="A close up of a green field&#10;&#10;Description automatically generated">
            <a:extLst>
              <a:ext uri="{FF2B5EF4-FFF2-40B4-BE49-F238E27FC236}">
                <a16:creationId xmlns:a16="http://schemas.microsoft.com/office/drawing/2014/main" id="{303FC04E-6E8C-4A4F-8C39-460C84A98690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" r="66812"/>
          <a:stretch/>
        </p:blipFill>
        <p:spPr>
          <a:xfrm>
            <a:off x="-1" y="0"/>
            <a:ext cx="2757660" cy="6858000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731BB7A9-C5C0-DF4B-9FCD-28DD16890951}"/>
              </a:ext>
            </a:extLst>
          </p:cNvPr>
          <p:cNvSpPr/>
          <p:nvPr/>
        </p:nvSpPr>
        <p:spPr>
          <a:xfrm>
            <a:off x="2757659" y="0"/>
            <a:ext cx="9431280" cy="6858000"/>
          </a:xfrm>
          <a:prstGeom prst="rect">
            <a:avLst/>
          </a:prstGeom>
          <a:gradFill>
            <a:gsLst>
              <a:gs pos="100000">
                <a:srgbClr val="000000">
                  <a:alpha val="0"/>
                </a:srgbClr>
              </a:gs>
              <a:gs pos="0">
                <a:srgbClr val="000000">
                  <a:alpha val="24000"/>
                </a:srgbClr>
              </a:gs>
            </a:gsLst>
            <a:lin ang="210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F6AE2D78-5EF4-E243-84C9-A76DF898C39A}"/>
              </a:ext>
            </a:extLst>
          </p:cNvPr>
          <p:cNvSpPr/>
          <p:nvPr/>
        </p:nvSpPr>
        <p:spPr>
          <a:xfrm>
            <a:off x="5159688" y="6472990"/>
            <a:ext cx="1872629" cy="25654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067">
                <a:solidFill>
                  <a:schemeClr val="bg1"/>
                </a:solidFill>
              </a:rPr>
              <a:t>Confidential and Proprietary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F63BDAD0-8E9A-7F40-8C17-043FD40BC0C3}"/>
              </a:ext>
            </a:extLst>
          </p:cNvPr>
          <p:cNvSpPr/>
          <p:nvPr/>
        </p:nvSpPr>
        <p:spPr>
          <a:xfrm>
            <a:off x="3133215" y="4373397"/>
            <a:ext cx="9058787" cy="2097987"/>
          </a:xfrm>
          <a:prstGeom prst="rect">
            <a:avLst/>
          </a:prstGeom>
          <a:solidFill>
            <a:srgbClr val="000000">
              <a:alpha val="47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34DC7F10-4C83-9041-96D5-D07176B06C1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58392" y="4672422"/>
            <a:ext cx="8623680" cy="1177609"/>
          </a:xfrm>
        </p:spPr>
        <p:txBody>
          <a:bodyPr anchor="t"/>
          <a:lstStyle>
            <a:lvl1pPr algn="l">
              <a:defRPr sz="4267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</a:t>
            </a:r>
            <a:br>
              <a:rPr lang="en-US"/>
            </a:br>
            <a:r>
              <a:rPr lang="en-US"/>
              <a:t>Cover text styles</a:t>
            </a:r>
          </a:p>
        </p:txBody>
      </p:sp>
      <p:sp>
        <p:nvSpPr>
          <p:cNvPr id="15" name="Text Placeholder 25">
            <a:extLst>
              <a:ext uri="{FF2B5EF4-FFF2-40B4-BE49-F238E27FC236}">
                <a16:creationId xmlns:a16="http://schemas.microsoft.com/office/drawing/2014/main" id="{7B1E6788-D654-8641-BE8D-32CB938A615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358107" y="5874717"/>
            <a:ext cx="8623680" cy="333259"/>
          </a:xfrm>
        </p:spPr>
        <p:txBody>
          <a:bodyPr anchor="t">
            <a:noAutofit/>
          </a:bodyPr>
          <a:lstStyle>
            <a:lvl1pPr>
              <a:defRPr sz="1467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Cover</a:t>
            </a: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4D20B396-6F50-0B40-B619-E62DE8B0A9A5}"/>
              </a:ext>
            </a:extLst>
          </p:cNvPr>
          <p:cNvGrpSpPr/>
          <p:nvPr/>
        </p:nvGrpSpPr>
        <p:grpSpPr>
          <a:xfrm>
            <a:off x="380381" y="5836618"/>
            <a:ext cx="1973352" cy="661135"/>
            <a:chOff x="8004175" y="4794250"/>
            <a:chExt cx="862967" cy="289121"/>
          </a:xfrm>
        </p:grpSpPr>
        <p:pic>
          <p:nvPicPr>
            <p:cNvPr id="21" name="Picture 20" descr="A close up of a sign&#10;&#10;Description automatically generated">
              <a:extLst>
                <a:ext uri="{FF2B5EF4-FFF2-40B4-BE49-F238E27FC236}">
                  <a16:creationId xmlns:a16="http://schemas.microsoft.com/office/drawing/2014/main" id="{351C60B2-4E9F-144A-B690-AEEBBC773AC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brightnessContrast bright="100000"/>
                      </a14:imgEffect>
                    </a14:imgLayer>
                  </a14:imgProps>
                </a:ext>
              </a:extLst>
            </a:blip>
            <a:srcRect l="21996"/>
            <a:stretch/>
          </p:blipFill>
          <p:spPr>
            <a:xfrm>
              <a:off x="8191500" y="4794250"/>
              <a:ext cx="675642" cy="289121"/>
            </a:xfrm>
            <a:prstGeom prst="rect">
              <a:avLst/>
            </a:prstGeom>
          </p:spPr>
        </p:pic>
        <p:pic>
          <p:nvPicPr>
            <p:cNvPr id="22" name="Picture 21" descr="A close up of a sign&#10;&#10;Description automatically generated">
              <a:extLst>
                <a:ext uri="{FF2B5EF4-FFF2-40B4-BE49-F238E27FC236}">
                  <a16:creationId xmlns:a16="http://schemas.microsoft.com/office/drawing/2014/main" id="{7A1A39B5-4E45-A843-92E4-B6E41465E6D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/>
            <a:srcRect l="369" r="78004"/>
            <a:stretch/>
          </p:blipFill>
          <p:spPr>
            <a:xfrm>
              <a:off x="8004175" y="4794250"/>
              <a:ext cx="187325" cy="289121"/>
            </a:xfrm>
            <a:prstGeom prst="rect">
              <a:avLst/>
            </a:prstGeom>
          </p:spPr>
        </p:pic>
      </p:grpSp>
      <p:pic>
        <p:nvPicPr>
          <p:cNvPr id="24" name="Picture 23" descr="A picture containing drawing&#10;&#10;Description automatically generated">
            <a:extLst>
              <a:ext uri="{FF2B5EF4-FFF2-40B4-BE49-F238E27FC236}">
                <a16:creationId xmlns:a16="http://schemas.microsoft.com/office/drawing/2014/main" id="{A8EE8E53-67DE-544C-9DE8-C783415F53F1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6149" y="396961"/>
            <a:ext cx="5862636" cy="12213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63663233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312">
          <p15:clr>
            <a:srgbClr val="FBAE40"/>
          </p15:clr>
        </p15:guide>
        <p15:guide id="2" pos="2880">
          <p15:clr>
            <a:srgbClr val="FBAE40"/>
          </p15:clr>
        </p15:guide>
        <p15:guide id="3" orient="horz" pos="3120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_2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A close up of a green field&#10;&#10;Description automatically generated">
            <a:extLst>
              <a:ext uri="{FF2B5EF4-FFF2-40B4-BE49-F238E27FC236}">
                <a16:creationId xmlns:a16="http://schemas.microsoft.com/office/drawing/2014/main" id="{E1349319-FCBF-4D40-B3A3-A720B971717D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2468" t="14221" r="15976" b="714"/>
          <a:stretch/>
        </p:blipFill>
        <p:spPr>
          <a:xfrm>
            <a:off x="1" y="1"/>
            <a:ext cx="7982583" cy="6875951"/>
          </a:xfrm>
          <a:prstGeom prst="rect">
            <a:avLst/>
          </a:prstGeom>
        </p:spPr>
      </p:pic>
      <p:sp>
        <p:nvSpPr>
          <p:cNvPr id="17" name="Rectangle 16">
            <a:extLst>
              <a:ext uri="{FF2B5EF4-FFF2-40B4-BE49-F238E27FC236}">
                <a16:creationId xmlns:a16="http://schemas.microsoft.com/office/drawing/2014/main" id="{0FF61621-9653-824B-9D09-B6F7BD756DB6}"/>
              </a:ext>
            </a:extLst>
          </p:cNvPr>
          <p:cNvSpPr/>
          <p:nvPr/>
        </p:nvSpPr>
        <p:spPr>
          <a:xfrm rot="16200000">
            <a:off x="2783243" y="-681722"/>
            <a:ext cx="2743200" cy="8309677"/>
          </a:xfrm>
          <a:prstGeom prst="rect">
            <a:avLst/>
          </a:prstGeom>
          <a:solidFill>
            <a:srgbClr val="000000">
              <a:alpha val="47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880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97746F48-2838-A343-BDFA-79F262A6529B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982583" y="1"/>
            <a:ext cx="4209415" cy="6875951"/>
          </a:xfrm>
          <a:prstGeom prst="rect">
            <a:avLst/>
          </a:prstGeom>
        </p:spPr>
      </p:pic>
      <p:sp>
        <p:nvSpPr>
          <p:cNvPr id="19" name="Title 1">
            <a:extLst>
              <a:ext uri="{FF2B5EF4-FFF2-40B4-BE49-F238E27FC236}">
                <a16:creationId xmlns:a16="http://schemas.microsoft.com/office/drawing/2014/main" id="{074B98C7-1FCE-FE4A-AC82-3A50636816C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8287" y="2323254"/>
            <a:ext cx="7453459" cy="1611085"/>
          </a:xfrm>
        </p:spPr>
        <p:txBody>
          <a:bodyPr anchor="t"/>
          <a:lstStyle>
            <a:lvl1pPr algn="l">
              <a:defRPr sz="5333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</a:t>
            </a:r>
            <a:br>
              <a:rPr lang="en-US"/>
            </a:br>
            <a:r>
              <a:rPr lang="en-US"/>
              <a:t>Template Cover</a:t>
            </a:r>
          </a:p>
        </p:txBody>
      </p:sp>
      <p:pic>
        <p:nvPicPr>
          <p:cNvPr id="14" name="Picture 13" descr="A picture containing drawing&#10;&#10;Description automatically generated">
            <a:extLst>
              <a:ext uri="{FF2B5EF4-FFF2-40B4-BE49-F238E27FC236}">
                <a16:creationId xmlns:a16="http://schemas.microsoft.com/office/drawing/2014/main" id="{80D211F2-05B3-034E-B1C2-9F8DA5FDD13D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9829" y="440013"/>
            <a:ext cx="3882319" cy="808816"/>
          </a:xfrm>
          <a:prstGeom prst="rect">
            <a:avLst/>
          </a:prstGeom>
        </p:spPr>
      </p:pic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CB02D7D-4A98-424F-BA4C-B57EFFAD220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08001" y="3972048"/>
            <a:ext cx="7453743" cy="501651"/>
          </a:xfrm>
        </p:spPr>
        <p:txBody>
          <a:bodyPr>
            <a:normAutofit/>
          </a:bodyPr>
          <a:lstStyle>
            <a:lvl1pPr algn="l">
              <a:defRPr sz="1867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Cover text styles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D842B18D-C2CA-2D48-ACF3-F2641DE00CE4}"/>
              </a:ext>
            </a:extLst>
          </p:cNvPr>
          <p:cNvSpPr/>
          <p:nvPr/>
        </p:nvSpPr>
        <p:spPr>
          <a:xfrm>
            <a:off x="5159687" y="6472990"/>
            <a:ext cx="1872629" cy="25654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ctr"/>
            <a:r>
              <a:rPr lang="en-US" sz="1067">
                <a:solidFill>
                  <a:schemeClr val="bg1"/>
                </a:solidFill>
              </a:rPr>
              <a:t>Confidential and Proprietary</a:t>
            </a:r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9710AD78-020E-1C4F-B593-8752F74D72CB}"/>
              </a:ext>
            </a:extLst>
          </p:cNvPr>
          <p:cNvGrpSpPr/>
          <p:nvPr/>
        </p:nvGrpSpPr>
        <p:grpSpPr>
          <a:xfrm>
            <a:off x="380381" y="5836618"/>
            <a:ext cx="1973352" cy="661135"/>
            <a:chOff x="8004175" y="4794250"/>
            <a:chExt cx="862967" cy="289121"/>
          </a:xfrm>
        </p:grpSpPr>
        <p:pic>
          <p:nvPicPr>
            <p:cNvPr id="22" name="Picture 21" descr="A close up of a sign&#10;&#10;Description automatically generated">
              <a:extLst>
                <a:ext uri="{FF2B5EF4-FFF2-40B4-BE49-F238E27FC236}">
                  <a16:creationId xmlns:a16="http://schemas.microsoft.com/office/drawing/2014/main" id="{6D669864-6085-D84D-879D-A0EE425D87E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brightnessContrast bright="100000"/>
                      </a14:imgEffect>
                    </a14:imgLayer>
                  </a14:imgProps>
                </a:ext>
              </a:extLst>
            </a:blip>
            <a:srcRect l="21996"/>
            <a:stretch/>
          </p:blipFill>
          <p:spPr>
            <a:xfrm>
              <a:off x="8191500" y="4794250"/>
              <a:ext cx="675642" cy="289121"/>
            </a:xfrm>
            <a:prstGeom prst="rect">
              <a:avLst/>
            </a:prstGeom>
          </p:spPr>
        </p:pic>
        <p:pic>
          <p:nvPicPr>
            <p:cNvPr id="23" name="Picture 22" descr="A close up of a sign&#10;&#10;Description automatically generated">
              <a:extLst>
                <a:ext uri="{FF2B5EF4-FFF2-40B4-BE49-F238E27FC236}">
                  <a16:creationId xmlns:a16="http://schemas.microsoft.com/office/drawing/2014/main" id="{04B7D0F8-2E0A-014D-9C29-DCD74ABA660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/>
            <a:srcRect l="369" r="78004"/>
            <a:stretch/>
          </p:blipFill>
          <p:spPr>
            <a:xfrm>
              <a:off x="8004175" y="4794250"/>
              <a:ext cx="187325" cy="28912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77815265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5527">
          <p15:clr>
            <a:srgbClr val="FBAE40"/>
          </p15:clr>
        </p15:guide>
        <p15:guide id="2" pos="312">
          <p15:clr>
            <a:srgbClr val="FBAE40"/>
          </p15:clr>
        </p15:guide>
        <p15:guide id="3" orient="horz" pos="3108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close up of a green field&#10;&#10;Description automatically generated">
            <a:extLst>
              <a:ext uri="{FF2B5EF4-FFF2-40B4-BE49-F238E27FC236}">
                <a16:creationId xmlns:a16="http://schemas.microsoft.com/office/drawing/2014/main" id="{379F7B3B-D297-084F-885F-602D8FCAFA54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-1" y="652"/>
            <a:ext cx="12191999" cy="6856696"/>
          </a:xfrm>
          <a:prstGeom prst="rect">
            <a:avLst/>
          </a:prstGeom>
        </p:spPr>
      </p:pic>
      <p:sp>
        <p:nvSpPr>
          <p:cNvPr id="15" name="Rectangle 14">
            <a:extLst>
              <a:ext uri="{FF2B5EF4-FFF2-40B4-BE49-F238E27FC236}">
                <a16:creationId xmlns:a16="http://schemas.microsoft.com/office/drawing/2014/main" id="{5E2CF6DA-9596-9045-844D-C6A891DC4116}"/>
              </a:ext>
            </a:extLst>
          </p:cNvPr>
          <p:cNvSpPr/>
          <p:nvPr/>
        </p:nvSpPr>
        <p:spPr>
          <a:xfrm>
            <a:off x="5159688" y="6472990"/>
            <a:ext cx="1872629" cy="25654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067">
                <a:solidFill>
                  <a:schemeClr val="bg1"/>
                </a:solidFill>
              </a:rPr>
              <a:t>Confidential and Proprietary</a:t>
            </a:r>
          </a:p>
        </p:txBody>
      </p:sp>
      <p:pic>
        <p:nvPicPr>
          <p:cNvPr id="8" name="Picture 7" descr="A picture containing drawing&#10;&#10;Description automatically generated">
            <a:extLst>
              <a:ext uri="{FF2B5EF4-FFF2-40B4-BE49-F238E27FC236}">
                <a16:creationId xmlns:a16="http://schemas.microsoft.com/office/drawing/2014/main" id="{0C236D82-DA6D-B641-BEBC-F0AC00B85631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9829" y="440013"/>
            <a:ext cx="3882319" cy="808816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D9DCA4DE-23E5-6441-9351-1E0D12B000B4}"/>
              </a:ext>
            </a:extLst>
          </p:cNvPr>
          <p:cNvSpPr/>
          <p:nvPr/>
        </p:nvSpPr>
        <p:spPr>
          <a:xfrm>
            <a:off x="1" y="2380007"/>
            <a:ext cx="9078137" cy="2097987"/>
          </a:xfrm>
          <a:prstGeom prst="rect">
            <a:avLst/>
          </a:prstGeom>
          <a:solidFill>
            <a:srgbClr val="000000">
              <a:alpha val="47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E0B514B3-3256-764E-97DF-E4F8B85494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6903" y="2581166"/>
            <a:ext cx="8584331" cy="1695669"/>
          </a:xfrm>
        </p:spPr>
        <p:txBody>
          <a:bodyPr anchor="ctr"/>
          <a:lstStyle>
            <a:lvl1pPr algn="l">
              <a:defRPr sz="4267" b="1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E588AD7A-426E-BA40-AB43-93301D717CEA}"/>
              </a:ext>
            </a:extLst>
          </p:cNvPr>
          <p:cNvGrpSpPr/>
          <p:nvPr/>
        </p:nvGrpSpPr>
        <p:grpSpPr>
          <a:xfrm>
            <a:off x="380381" y="5836618"/>
            <a:ext cx="1973352" cy="661135"/>
            <a:chOff x="8004175" y="4794250"/>
            <a:chExt cx="862967" cy="289121"/>
          </a:xfrm>
        </p:grpSpPr>
        <p:pic>
          <p:nvPicPr>
            <p:cNvPr id="19" name="Picture 18" descr="A close up of a sign&#10;&#10;Description automatically generated">
              <a:extLst>
                <a:ext uri="{FF2B5EF4-FFF2-40B4-BE49-F238E27FC236}">
                  <a16:creationId xmlns:a16="http://schemas.microsoft.com/office/drawing/2014/main" id="{A1050FCC-B049-1146-9323-B16744667D1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brightnessContrast bright="100000"/>
                      </a14:imgEffect>
                    </a14:imgLayer>
                  </a14:imgProps>
                </a:ext>
              </a:extLst>
            </a:blip>
            <a:srcRect l="21996"/>
            <a:stretch/>
          </p:blipFill>
          <p:spPr>
            <a:xfrm>
              <a:off x="8191500" y="4794250"/>
              <a:ext cx="675642" cy="289121"/>
            </a:xfrm>
            <a:prstGeom prst="rect">
              <a:avLst/>
            </a:prstGeom>
          </p:spPr>
        </p:pic>
        <p:pic>
          <p:nvPicPr>
            <p:cNvPr id="20" name="Picture 19" descr="A close up of a sign&#10;&#10;Description automatically generated">
              <a:extLst>
                <a:ext uri="{FF2B5EF4-FFF2-40B4-BE49-F238E27FC236}">
                  <a16:creationId xmlns:a16="http://schemas.microsoft.com/office/drawing/2014/main" id="{82392A73-ECE5-384C-A817-C1E7BBC5F8F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/>
            <a:srcRect l="369" r="78004"/>
            <a:stretch/>
          </p:blipFill>
          <p:spPr>
            <a:xfrm>
              <a:off x="8004175" y="4794250"/>
              <a:ext cx="187325" cy="28912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018458139"/>
      </p:ext>
    </p:extLst>
  </p:cSld>
  <p:clrMapOvr>
    <a:masterClrMapping/>
  </p:clrMapOvr>
  <p:transition>
    <p:fade/>
  </p:transition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7DA27EC0-66BF-8B43-BD9A-C844666513FE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057" y="0"/>
            <a:ext cx="12189880" cy="6858000"/>
          </a:xfrm>
          <a:prstGeom prst="rect">
            <a:avLst/>
          </a:prstGeom>
        </p:spPr>
      </p:pic>
      <p:sp>
        <p:nvSpPr>
          <p:cNvPr id="15" name="Rectangle 14">
            <a:extLst>
              <a:ext uri="{FF2B5EF4-FFF2-40B4-BE49-F238E27FC236}">
                <a16:creationId xmlns:a16="http://schemas.microsoft.com/office/drawing/2014/main" id="{BA7B8AF8-99B8-DE46-AC24-8E239E5915AC}"/>
              </a:ext>
            </a:extLst>
          </p:cNvPr>
          <p:cNvSpPr/>
          <p:nvPr/>
        </p:nvSpPr>
        <p:spPr>
          <a:xfrm rot="16200000">
            <a:off x="2667003" y="-2666998"/>
            <a:ext cx="6857997" cy="12191996"/>
          </a:xfrm>
          <a:prstGeom prst="rect">
            <a:avLst/>
          </a:prstGeom>
          <a:gradFill>
            <a:gsLst>
              <a:gs pos="33000">
                <a:srgbClr val="000000">
                  <a:alpha val="0"/>
                </a:srgbClr>
              </a:gs>
              <a:gs pos="66000">
                <a:srgbClr val="000000">
                  <a:alpha val="0"/>
                </a:srgbClr>
              </a:gs>
              <a:gs pos="99000">
                <a:srgbClr val="000000">
                  <a:alpha val="37000"/>
                </a:srgbClr>
              </a:gs>
            </a:gsLst>
            <a:lin ang="168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88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FDD3CF23-63E9-974D-B428-279EC9AC8252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2" y="3874796"/>
            <a:ext cx="7071909" cy="1688624"/>
          </a:xfrm>
          <a:prstGeom prst="rect">
            <a:avLst/>
          </a:prstGeom>
        </p:spPr>
      </p:pic>
      <p:sp>
        <p:nvSpPr>
          <p:cNvPr id="19" name="Rectangle 18">
            <a:extLst>
              <a:ext uri="{FF2B5EF4-FFF2-40B4-BE49-F238E27FC236}">
                <a16:creationId xmlns:a16="http://schemas.microsoft.com/office/drawing/2014/main" id="{E834D070-8761-D542-8935-3E4109017343}"/>
              </a:ext>
            </a:extLst>
          </p:cNvPr>
          <p:cNvSpPr/>
          <p:nvPr/>
        </p:nvSpPr>
        <p:spPr>
          <a:xfrm rot="16200000">
            <a:off x="2686335" y="1171961"/>
            <a:ext cx="1699243" cy="7071908"/>
          </a:xfrm>
          <a:prstGeom prst="rect">
            <a:avLst/>
          </a:prstGeom>
          <a:gradFill>
            <a:gsLst>
              <a:gs pos="2655">
                <a:srgbClr val="000000">
                  <a:alpha val="57000"/>
                  <a:lumMod val="32000"/>
                </a:srgbClr>
              </a:gs>
              <a:gs pos="66000">
                <a:srgbClr val="000000">
                  <a:alpha val="17000"/>
                </a:srgbClr>
              </a:gs>
              <a:gs pos="100000">
                <a:srgbClr val="000000">
                  <a:alpha val="13000"/>
                </a:srgbClr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880"/>
          </a:p>
        </p:txBody>
      </p:sp>
      <p:sp>
        <p:nvSpPr>
          <p:cNvPr id="13" name="Text Placeholder 25">
            <a:extLst>
              <a:ext uri="{FF2B5EF4-FFF2-40B4-BE49-F238E27FC236}">
                <a16:creationId xmlns:a16="http://schemas.microsoft.com/office/drawing/2014/main" id="{FE5E9D5A-7427-5B48-AECA-7B9181E1288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58375" y="4973479"/>
            <a:ext cx="6635648" cy="427512"/>
          </a:xfrm>
        </p:spPr>
        <p:txBody>
          <a:bodyPr anchor="b">
            <a:noAutofit/>
          </a:bodyPr>
          <a:lstStyle>
            <a:lvl1pPr>
              <a:defRPr sz="1467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1E9FE4EA-89A0-7742-A401-0253214A29F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8375" y="4023041"/>
            <a:ext cx="6635648" cy="1061207"/>
          </a:xfrm>
        </p:spPr>
        <p:txBody>
          <a:bodyPr anchor="t"/>
          <a:lstStyle>
            <a:lvl1pPr algn="l">
              <a:defRPr sz="3200" b="1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title </a:t>
            </a:r>
            <a:br>
              <a:rPr lang="en-US"/>
            </a:br>
            <a:r>
              <a:rPr lang="en-US"/>
              <a:t>Divider Slide</a:t>
            </a:r>
          </a:p>
        </p:txBody>
      </p:sp>
      <p:pic>
        <p:nvPicPr>
          <p:cNvPr id="11" name="Picture 10" descr="A picture containing drawing&#10;&#10;Description automatically generated">
            <a:extLst>
              <a:ext uri="{FF2B5EF4-FFF2-40B4-BE49-F238E27FC236}">
                <a16:creationId xmlns:a16="http://schemas.microsoft.com/office/drawing/2014/main" id="{CE89B9BC-4B06-114E-9740-347300855A9A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9829" y="440013"/>
            <a:ext cx="3882319" cy="808816"/>
          </a:xfrm>
          <a:prstGeom prst="rect">
            <a:avLst/>
          </a:prstGeom>
        </p:spPr>
      </p:pic>
      <p:sp>
        <p:nvSpPr>
          <p:cNvPr id="21" name="Rectangle 20">
            <a:extLst>
              <a:ext uri="{FF2B5EF4-FFF2-40B4-BE49-F238E27FC236}">
                <a16:creationId xmlns:a16="http://schemas.microsoft.com/office/drawing/2014/main" id="{60987177-7E2F-2F4C-9CAC-C2DE2235448C}"/>
              </a:ext>
            </a:extLst>
          </p:cNvPr>
          <p:cNvSpPr/>
          <p:nvPr/>
        </p:nvSpPr>
        <p:spPr>
          <a:xfrm>
            <a:off x="5159687" y="6472990"/>
            <a:ext cx="1872629" cy="25654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ctr"/>
            <a:r>
              <a:rPr lang="en-US" sz="1067">
                <a:solidFill>
                  <a:schemeClr val="bg1"/>
                </a:solidFill>
              </a:rPr>
              <a:t>Confidential and Proprietary</a:t>
            </a:r>
          </a:p>
        </p:txBody>
      </p:sp>
      <p:grpSp>
        <p:nvGrpSpPr>
          <p:cNvPr id="24" name="Group 23">
            <a:extLst>
              <a:ext uri="{FF2B5EF4-FFF2-40B4-BE49-F238E27FC236}">
                <a16:creationId xmlns:a16="http://schemas.microsoft.com/office/drawing/2014/main" id="{E3C54C80-4B09-AB47-BA67-689950D8311C}"/>
              </a:ext>
            </a:extLst>
          </p:cNvPr>
          <p:cNvGrpSpPr/>
          <p:nvPr/>
        </p:nvGrpSpPr>
        <p:grpSpPr>
          <a:xfrm>
            <a:off x="380381" y="5836618"/>
            <a:ext cx="1973352" cy="661135"/>
            <a:chOff x="8004175" y="4794250"/>
            <a:chExt cx="862967" cy="289121"/>
          </a:xfrm>
        </p:grpSpPr>
        <p:pic>
          <p:nvPicPr>
            <p:cNvPr id="25" name="Picture 24" descr="A close up of a sign&#10;&#10;Description automatically generated">
              <a:extLst>
                <a:ext uri="{FF2B5EF4-FFF2-40B4-BE49-F238E27FC236}">
                  <a16:creationId xmlns:a16="http://schemas.microsoft.com/office/drawing/2014/main" id="{FCB45797-05E1-B44E-B0A3-EA08D95D732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brightnessContrast bright="100000"/>
                      </a14:imgEffect>
                    </a14:imgLayer>
                  </a14:imgProps>
                </a:ext>
              </a:extLst>
            </a:blip>
            <a:srcRect l="21996"/>
            <a:stretch/>
          </p:blipFill>
          <p:spPr>
            <a:xfrm>
              <a:off x="8191500" y="4794250"/>
              <a:ext cx="675642" cy="289121"/>
            </a:xfrm>
            <a:prstGeom prst="rect">
              <a:avLst/>
            </a:prstGeom>
          </p:spPr>
        </p:pic>
        <p:pic>
          <p:nvPicPr>
            <p:cNvPr id="26" name="Picture 25" descr="A close up of a sign&#10;&#10;Description automatically generated">
              <a:extLst>
                <a:ext uri="{FF2B5EF4-FFF2-40B4-BE49-F238E27FC236}">
                  <a16:creationId xmlns:a16="http://schemas.microsoft.com/office/drawing/2014/main" id="{B90B4E83-85A2-2649-B0CE-BB19C2720A8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/>
            <a:srcRect l="369" r="78004"/>
            <a:stretch/>
          </p:blipFill>
          <p:spPr>
            <a:xfrm>
              <a:off x="8004175" y="4794250"/>
              <a:ext cx="187325" cy="28912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014956620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3122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SLID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82E39ED2-23E6-0241-83F5-E697607FBF52}"/>
              </a:ext>
            </a:extLst>
          </p:cNvPr>
          <p:cNvSpPr/>
          <p:nvPr/>
        </p:nvSpPr>
        <p:spPr>
          <a:xfrm>
            <a:off x="6096000" y="1"/>
            <a:ext cx="6096000" cy="6270172"/>
          </a:xfrm>
          <a:prstGeom prst="rect">
            <a:avLst/>
          </a:prstGeom>
          <a:solidFill>
            <a:srgbClr val="EBEBE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CBFDDF4-0565-424E-AFE7-6000EF98D79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3397" y="204645"/>
            <a:ext cx="5291473" cy="1235172"/>
          </a:xfrm>
        </p:spPr>
        <p:txBody>
          <a:bodyPr anchor="t"/>
          <a:lstStyle/>
          <a:p>
            <a:r>
              <a:rPr lang="en-US"/>
              <a:t>Click to Add Title</a:t>
            </a:r>
          </a:p>
        </p:txBody>
      </p:sp>
      <p:sp>
        <p:nvSpPr>
          <p:cNvPr id="31" name="Text Placeholder 4">
            <a:extLst>
              <a:ext uri="{FF2B5EF4-FFF2-40B4-BE49-F238E27FC236}">
                <a16:creationId xmlns:a16="http://schemas.microsoft.com/office/drawing/2014/main" id="{2DDC9D50-4E3D-CB4C-B9B5-F228C916BF24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7796247" y="365895"/>
            <a:ext cx="3756416" cy="449280"/>
          </a:xfrm>
          <a:prstGeom prst="rect">
            <a:avLst/>
          </a:prstGeom>
        </p:spPr>
        <p:txBody>
          <a:bodyPr lIns="0" bIns="0" anchor="b"/>
          <a:lstStyle>
            <a:lvl1pPr>
              <a:defRPr sz="1867" b="1">
                <a:solidFill>
                  <a:schemeClr val="accent2"/>
                </a:solidFill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32" name="Text Placeholder 8">
            <a:extLst>
              <a:ext uri="{FF2B5EF4-FFF2-40B4-BE49-F238E27FC236}">
                <a16:creationId xmlns:a16="http://schemas.microsoft.com/office/drawing/2014/main" id="{E00BFE1D-E62E-1E44-A213-1D0752352B39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6681472" y="365899"/>
            <a:ext cx="901721" cy="924764"/>
          </a:xfrm>
          <a:prstGeom prst="rect">
            <a:avLst/>
          </a:prstGeom>
        </p:spPr>
        <p:txBody>
          <a:bodyPr vert="horz" lIns="91440" tIns="45720" rIns="0" bIns="0" rtlCol="0" anchor="ctr">
            <a:noAutofit/>
          </a:bodyPr>
          <a:lstStyle>
            <a:lvl1pPr algn="r">
              <a:defRPr lang="en-US" sz="4267" b="1" dirty="0">
                <a:solidFill>
                  <a:schemeClr val="accent2"/>
                </a:solidFill>
              </a:defRPr>
            </a:lvl1pPr>
          </a:lstStyle>
          <a:p>
            <a:pPr lvl="0" algn="ctr"/>
            <a:r>
              <a:rPr lang="en-US"/>
              <a:t>01</a:t>
            </a:r>
          </a:p>
        </p:txBody>
      </p:sp>
      <p:sp>
        <p:nvSpPr>
          <p:cNvPr id="33" name="Text Placeholder 4">
            <a:extLst>
              <a:ext uri="{FF2B5EF4-FFF2-40B4-BE49-F238E27FC236}">
                <a16:creationId xmlns:a16="http://schemas.microsoft.com/office/drawing/2014/main" id="{2E12B16E-1923-234A-ACB8-691381ABAE46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7796247" y="841383"/>
            <a:ext cx="3756416" cy="449280"/>
          </a:xfrm>
          <a:prstGeom prst="rect">
            <a:avLst/>
          </a:prstGeom>
        </p:spPr>
        <p:txBody>
          <a:bodyPr lIns="0" tIns="0" anchor="t"/>
          <a:lstStyle>
            <a:lvl1pPr>
              <a:defRPr sz="1600">
                <a:solidFill>
                  <a:schemeClr val="tx1"/>
                </a:solidFill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34" name="Text Placeholder 4">
            <a:extLst>
              <a:ext uri="{FF2B5EF4-FFF2-40B4-BE49-F238E27FC236}">
                <a16:creationId xmlns:a16="http://schemas.microsoft.com/office/drawing/2014/main" id="{1BC5B3F3-6A23-0C4F-8096-4436F67C0E6F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7796246" y="1544409"/>
            <a:ext cx="3756417" cy="449280"/>
          </a:xfrm>
          <a:prstGeom prst="rect">
            <a:avLst/>
          </a:prstGeom>
        </p:spPr>
        <p:txBody>
          <a:bodyPr lIns="0" bIns="0" anchor="b"/>
          <a:lstStyle>
            <a:lvl1pPr>
              <a:defRPr lang="en-US" sz="1867" b="1" i="0" kern="1200" dirty="0">
                <a:solidFill>
                  <a:schemeClr val="tx2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35" name="Text Placeholder 8">
            <a:extLst>
              <a:ext uri="{FF2B5EF4-FFF2-40B4-BE49-F238E27FC236}">
                <a16:creationId xmlns:a16="http://schemas.microsoft.com/office/drawing/2014/main" id="{3B8D1CAC-51B0-174F-8500-2B89F106A8A4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6686557" y="1544411"/>
            <a:ext cx="896636" cy="924767"/>
          </a:xfrm>
          <a:prstGeom prst="rect">
            <a:avLst/>
          </a:prstGeom>
        </p:spPr>
        <p:txBody>
          <a:bodyPr vert="horz" lIns="91440" tIns="45720" rIns="0" bIns="0" rtlCol="0" anchor="ctr">
            <a:noAutofit/>
          </a:bodyPr>
          <a:lstStyle>
            <a:lvl1pPr algn="r">
              <a:defRPr lang="en-US" sz="4267" b="1" i="0" kern="1200" dirty="0">
                <a:solidFill>
                  <a:schemeClr val="tx2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</a:lstStyle>
          <a:p>
            <a:pPr marL="0" lvl="0" indent="0" algn="ctr" defTabSz="609585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None/>
            </a:pPr>
            <a:r>
              <a:rPr lang="en-US"/>
              <a:t>02</a:t>
            </a:r>
          </a:p>
        </p:txBody>
      </p:sp>
      <p:sp>
        <p:nvSpPr>
          <p:cNvPr id="36" name="Text Placeholder 4">
            <a:extLst>
              <a:ext uri="{FF2B5EF4-FFF2-40B4-BE49-F238E27FC236}">
                <a16:creationId xmlns:a16="http://schemas.microsoft.com/office/drawing/2014/main" id="{A1EF5B61-2243-4A4D-BE07-ECF218564262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7796246" y="2019897"/>
            <a:ext cx="3756417" cy="449280"/>
          </a:xfrm>
          <a:prstGeom prst="rect">
            <a:avLst/>
          </a:prstGeom>
        </p:spPr>
        <p:txBody>
          <a:bodyPr lIns="0" tIns="0" anchor="t"/>
          <a:lstStyle>
            <a:lvl1pPr>
              <a:defRPr sz="1600">
                <a:solidFill>
                  <a:schemeClr val="tx1"/>
                </a:solidFill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37" name="Text Placeholder 4">
            <a:extLst>
              <a:ext uri="{FF2B5EF4-FFF2-40B4-BE49-F238E27FC236}">
                <a16:creationId xmlns:a16="http://schemas.microsoft.com/office/drawing/2014/main" id="{E1F7BDB5-5936-AD42-9D55-514FDBACB7D1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7796244" y="2720028"/>
            <a:ext cx="3756419" cy="449280"/>
          </a:xfrm>
          <a:prstGeom prst="rect">
            <a:avLst/>
          </a:prstGeom>
        </p:spPr>
        <p:txBody>
          <a:bodyPr lIns="0" bIns="0" anchor="b"/>
          <a:lstStyle>
            <a:lvl1pPr>
              <a:defRPr lang="en-US" sz="1867" b="1" i="0" kern="1200" dirty="0">
                <a:solidFill>
                  <a:schemeClr val="accent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38" name="Text Placeholder 8">
            <a:extLst>
              <a:ext uri="{FF2B5EF4-FFF2-40B4-BE49-F238E27FC236}">
                <a16:creationId xmlns:a16="http://schemas.microsoft.com/office/drawing/2014/main" id="{5A5C4FD3-2CB2-0146-90FD-691CF9932875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6686556" y="2720028"/>
            <a:ext cx="896637" cy="924768"/>
          </a:xfrm>
          <a:prstGeom prst="rect">
            <a:avLst/>
          </a:prstGeom>
        </p:spPr>
        <p:txBody>
          <a:bodyPr vert="horz" lIns="91440" tIns="45720" rIns="0" bIns="0" rtlCol="0" anchor="ctr">
            <a:noAutofit/>
          </a:bodyPr>
          <a:lstStyle>
            <a:lvl1pPr algn="r">
              <a:defRPr lang="en-US" sz="4267" b="1" dirty="0">
                <a:solidFill>
                  <a:schemeClr val="accent1"/>
                </a:solidFill>
              </a:defRPr>
            </a:lvl1pPr>
          </a:lstStyle>
          <a:p>
            <a:pPr lvl="0" algn="ctr"/>
            <a:r>
              <a:rPr lang="en-US"/>
              <a:t>03</a:t>
            </a:r>
          </a:p>
        </p:txBody>
      </p:sp>
      <p:sp>
        <p:nvSpPr>
          <p:cNvPr id="39" name="Text Placeholder 4">
            <a:extLst>
              <a:ext uri="{FF2B5EF4-FFF2-40B4-BE49-F238E27FC236}">
                <a16:creationId xmlns:a16="http://schemas.microsoft.com/office/drawing/2014/main" id="{131006F4-AC93-A848-ABFE-C2EF95EBA0F6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7796244" y="3195516"/>
            <a:ext cx="3756419" cy="449280"/>
          </a:xfrm>
          <a:prstGeom prst="rect">
            <a:avLst/>
          </a:prstGeom>
        </p:spPr>
        <p:txBody>
          <a:bodyPr lIns="0" tIns="0" anchor="t"/>
          <a:lstStyle>
            <a:lvl1pPr>
              <a:defRPr sz="1600">
                <a:solidFill>
                  <a:schemeClr val="tx1"/>
                </a:solidFill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40" name="Text Placeholder 4">
            <a:extLst>
              <a:ext uri="{FF2B5EF4-FFF2-40B4-BE49-F238E27FC236}">
                <a16:creationId xmlns:a16="http://schemas.microsoft.com/office/drawing/2014/main" id="{2179E908-641A-5442-BA77-A7E447262433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7796244" y="3895647"/>
            <a:ext cx="3756419" cy="449280"/>
          </a:xfrm>
          <a:prstGeom prst="rect">
            <a:avLst/>
          </a:prstGeom>
        </p:spPr>
        <p:txBody>
          <a:bodyPr lIns="0" bIns="0" anchor="b"/>
          <a:lstStyle>
            <a:lvl1pPr>
              <a:defRPr lang="en-US" sz="1867" b="1" i="0" kern="1200" dirty="0">
                <a:solidFill>
                  <a:schemeClr val="accent3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41" name="Text Placeholder 8">
            <a:extLst>
              <a:ext uri="{FF2B5EF4-FFF2-40B4-BE49-F238E27FC236}">
                <a16:creationId xmlns:a16="http://schemas.microsoft.com/office/drawing/2014/main" id="{40BE9F43-9B3D-4044-BC4E-7E3BA835BCCD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6681472" y="3895647"/>
            <a:ext cx="901721" cy="924768"/>
          </a:xfrm>
          <a:prstGeom prst="rect">
            <a:avLst/>
          </a:prstGeom>
        </p:spPr>
        <p:txBody>
          <a:bodyPr vert="horz" lIns="91440" tIns="45720" rIns="0" bIns="0" rtlCol="0" anchor="ctr">
            <a:noAutofit/>
          </a:bodyPr>
          <a:lstStyle>
            <a:lvl1pPr algn="r">
              <a:defRPr lang="en-US" sz="4267" b="1" dirty="0">
                <a:solidFill>
                  <a:schemeClr val="accent3"/>
                </a:solidFill>
              </a:defRPr>
            </a:lvl1pPr>
          </a:lstStyle>
          <a:p>
            <a:pPr lvl="0" algn="ctr"/>
            <a:r>
              <a:rPr lang="en-US"/>
              <a:t>04</a:t>
            </a:r>
          </a:p>
        </p:txBody>
      </p:sp>
      <p:sp>
        <p:nvSpPr>
          <p:cNvPr id="42" name="Text Placeholder 4">
            <a:extLst>
              <a:ext uri="{FF2B5EF4-FFF2-40B4-BE49-F238E27FC236}">
                <a16:creationId xmlns:a16="http://schemas.microsoft.com/office/drawing/2014/main" id="{8AFA3CEA-07A9-2846-8E33-9A40B594CFE0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7796244" y="4371135"/>
            <a:ext cx="3756419" cy="449280"/>
          </a:xfrm>
          <a:prstGeom prst="rect">
            <a:avLst/>
          </a:prstGeom>
        </p:spPr>
        <p:txBody>
          <a:bodyPr lIns="0" tIns="0" anchor="t"/>
          <a:lstStyle>
            <a:lvl1pPr>
              <a:defRPr sz="1600">
                <a:solidFill>
                  <a:schemeClr val="tx1"/>
                </a:solidFill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43" name="Text Placeholder 4">
            <a:extLst>
              <a:ext uri="{FF2B5EF4-FFF2-40B4-BE49-F238E27FC236}">
                <a16:creationId xmlns:a16="http://schemas.microsoft.com/office/drawing/2014/main" id="{DFD44F2B-989D-B14F-9249-0B1CFC241B3D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7796244" y="5071265"/>
            <a:ext cx="3756419" cy="449280"/>
          </a:xfrm>
          <a:prstGeom prst="rect">
            <a:avLst/>
          </a:prstGeom>
        </p:spPr>
        <p:txBody>
          <a:bodyPr lIns="0" bIns="0" anchor="b"/>
          <a:lstStyle>
            <a:lvl1pPr>
              <a:defRPr lang="en-US" sz="1867" b="1" i="0" kern="1200" dirty="0">
                <a:solidFill>
                  <a:schemeClr val="bg2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44" name="Text Placeholder 8">
            <a:extLst>
              <a:ext uri="{FF2B5EF4-FFF2-40B4-BE49-F238E27FC236}">
                <a16:creationId xmlns:a16="http://schemas.microsoft.com/office/drawing/2014/main" id="{DBF1F09E-2235-7F48-9314-5A46F45E8A4E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6686556" y="5071267"/>
            <a:ext cx="896637" cy="924767"/>
          </a:xfrm>
          <a:prstGeom prst="rect">
            <a:avLst/>
          </a:prstGeom>
        </p:spPr>
        <p:txBody>
          <a:bodyPr vert="horz" lIns="91440" tIns="45720" rIns="0" bIns="0" rtlCol="0" anchor="ctr">
            <a:noAutofit/>
          </a:bodyPr>
          <a:lstStyle>
            <a:lvl1pPr algn="r">
              <a:defRPr lang="en-US" sz="4267" b="1" dirty="0">
                <a:solidFill>
                  <a:schemeClr val="bg2"/>
                </a:solidFill>
              </a:defRPr>
            </a:lvl1pPr>
          </a:lstStyle>
          <a:p>
            <a:pPr lvl="0" algn="ctr"/>
            <a:r>
              <a:rPr lang="en-US"/>
              <a:t>05</a:t>
            </a:r>
          </a:p>
        </p:txBody>
      </p:sp>
      <p:sp>
        <p:nvSpPr>
          <p:cNvPr id="45" name="Text Placeholder 4">
            <a:extLst>
              <a:ext uri="{FF2B5EF4-FFF2-40B4-BE49-F238E27FC236}">
                <a16:creationId xmlns:a16="http://schemas.microsoft.com/office/drawing/2014/main" id="{719351DC-386B-8D4E-9849-D4463DC0C0DC}"/>
              </a:ext>
            </a:extLst>
          </p:cNvPr>
          <p:cNvSpPr>
            <a:spLocks noGrp="1"/>
          </p:cNvSpPr>
          <p:nvPr>
            <p:ph type="body" sz="quarter" idx="63" hasCustomPrompt="1"/>
          </p:nvPr>
        </p:nvSpPr>
        <p:spPr>
          <a:xfrm>
            <a:off x="7796244" y="5546753"/>
            <a:ext cx="3756419" cy="449280"/>
          </a:xfrm>
          <a:prstGeom prst="rect">
            <a:avLst/>
          </a:prstGeom>
        </p:spPr>
        <p:txBody>
          <a:bodyPr lIns="0" tIns="0" anchor="t"/>
          <a:lstStyle>
            <a:lvl1pPr>
              <a:defRPr sz="1600">
                <a:solidFill>
                  <a:schemeClr val="tx1"/>
                </a:solidFill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4D2C81F-0597-1843-AE5F-44DDFBBBD5B6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383395" y="1436911"/>
            <a:ext cx="5268251" cy="4267965"/>
          </a:xfrm>
          <a:prstGeom prst="rect">
            <a:avLst/>
          </a:prstGeom>
        </p:spPr>
        <p:txBody>
          <a:bodyPr/>
          <a:lstStyle>
            <a:lvl1pPr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tabLst/>
              <a:defRPr lang="en-US" sz="2667" b="0" i="0" kern="1200" baseline="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tabLst/>
              <a:defRPr lang="en-US" sz="2400" b="0" i="0" kern="1200" baseline="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2pPr>
            <a:lvl3pPr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tabLst/>
              <a:defRPr lang="en-US" sz="2400" b="0" i="0" kern="1200" baseline="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3pPr>
            <a:lvl4pPr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tabLst/>
              <a:defRPr lang="en-US" sz="2400" b="0" i="0" kern="1200" baseline="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4pPr>
            <a:lvl5pPr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tabLst/>
              <a:defRPr lang="en-US" sz="2400" b="0" i="0" kern="1200" baseline="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5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First level bullet</a:t>
            </a:r>
          </a:p>
          <a:p>
            <a:pPr lvl="2"/>
            <a:r>
              <a:rPr lang="en-US"/>
              <a:t>Second level bullet</a:t>
            </a:r>
          </a:p>
          <a:p>
            <a:pPr lvl="3"/>
            <a:r>
              <a:rPr lang="en-US"/>
              <a:t>Third level bullet</a:t>
            </a:r>
          </a:p>
          <a:p>
            <a:pPr lvl="4"/>
            <a:r>
              <a:rPr lang="en-US"/>
              <a:t>Fourth level bullet</a:t>
            </a:r>
          </a:p>
        </p:txBody>
      </p: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10DE17E5-6C5E-384F-A4D3-283BA685FD55}"/>
              </a:ext>
            </a:extLst>
          </p:cNvPr>
          <p:cNvCxnSpPr>
            <a:cxnSpLocks/>
          </p:cNvCxnSpPr>
          <p:nvPr/>
        </p:nvCxnSpPr>
        <p:spPr>
          <a:xfrm>
            <a:off x="7689720" y="5237316"/>
            <a:ext cx="0" cy="592667"/>
          </a:xfrm>
          <a:prstGeom prst="line">
            <a:avLst/>
          </a:prstGeom>
          <a:ln w="19050" cap="rnd" cmpd="sng">
            <a:solidFill>
              <a:schemeClr val="bg1">
                <a:lumMod val="50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6" name="Straight Connector 45">
            <a:extLst>
              <a:ext uri="{FF2B5EF4-FFF2-40B4-BE49-F238E27FC236}">
                <a16:creationId xmlns:a16="http://schemas.microsoft.com/office/drawing/2014/main" id="{8C10A3CB-C090-A94B-AEBC-DCD29FA1E36A}"/>
              </a:ext>
            </a:extLst>
          </p:cNvPr>
          <p:cNvCxnSpPr>
            <a:cxnSpLocks/>
          </p:cNvCxnSpPr>
          <p:nvPr/>
        </p:nvCxnSpPr>
        <p:spPr>
          <a:xfrm>
            <a:off x="7689720" y="4061697"/>
            <a:ext cx="0" cy="592667"/>
          </a:xfrm>
          <a:prstGeom prst="line">
            <a:avLst/>
          </a:prstGeom>
          <a:ln w="19050" cap="rnd" cmpd="sng">
            <a:solidFill>
              <a:schemeClr val="bg1">
                <a:lumMod val="50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7" name="Straight Connector 46">
            <a:extLst>
              <a:ext uri="{FF2B5EF4-FFF2-40B4-BE49-F238E27FC236}">
                <a16:creationId xmlns:a16="http://schemas.microsoft.com/office/drawing/2014/main" id="{7CFE109A-2FE4-4842-8676-530C4DCB9153}"/>
              </a:ext>
            </a:extLst>
          </p:cNvPr>
          <p:cNvCxnSpPr>
            <a:cxnSpLocks/>
          </p:cNvCxnSpPr>
          <p:nvPr/>
        </p:nvCxnSpPr>
        <p:spPr>
          <a:xfrm>
            <a:off x="7689720" y="2886079"/>
            <a:ext cx="0" cy="592667"/>
          </a:xfrm>
          <a:prstGeom prst="line">
            <a:avLst/>
          </a:prstGeom>
          <a:ln w="19050" cap="rnd" cmpd="sng">
            <a:solidFill>
              <a:schemeClr val="bg1">
                <a:lumMod val="50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8" name="Straight Connector 47">
            <a:extLst>
              <a:ext uri="{FF2B5EF4-FFF2-40B4-BE49-F238E27FC236}">
                <a16:creationId xmlns:a16="http://schemas.microsoft.com/office/drawing/2014/main" id="{959DC11E-9BA7-794C-94EE-EC24C50B3041}"/>
              </a:ext>
            </a:extLst>
          </p:cNvPr>
          <p:cNvCxnSpPr>
            <a:cxnSpLocks/>
          </p:cNvCxnSpPr>
          <p:nvPr/>
        </p:nvCxnSpPr>
        <p:spPr>
          <a:xfrm>
            <a:off x="7689720" y="1710460"/>
            <a:ext cx="0" cy="592667"/>
          </a:xfrm>
          <a:prstGeom prst="line">
            <a:avLst/>
          </a:prstGeom>
          <a:ln w="19050" cap="rnd" cmpd="sng">
            <a:solidFill>
              <a:schemeClr val="bg1">
                <a:lumMod val="50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A8952BEA-2213-4949-BD9A-021C34C69C63}"/>
              </a:ext>
            </a:extLst>
          </p:cNvPr>
          <p:cNvCxnSpPr>
            <a:cxnSpLocks/>
          </p:cNvCxnSpPr>
          <p:nvPr/>
        </p:nvCxnSpPr>
        <p:spPr>
          <a:xfrm>
            <a:off x="7689720" y="531947"/>
            <a:ext cx="0" cy="592667"/>
          </a:xfrm>
          <a:prstGeom prst="line">
            <a:avLst/>
          </a:prstGeom>
          <a:ln w="19050" cap="rnd" cmpd="sng">
            <a:solidFill>
              <a:schemeClr val="bg1">
                <a:lumMod val="50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6" name="Slide Number Placeholder 2">
            <a:extLst>
              <a:ext uri="{FF2B5EF4-FFF2-40B4-BE49-F238E27FC236}">
                <a16:creationId xmlns:a16="http://schemas.microsoft.com/office/drawing/2014/main" id="{8660454D-08C8-AB4C-8DAC-6CC644987EC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bg1"/>
                </a:solidFill>
              </a:defRPr>
            </a:lvl1pPr>
          </a:lstStyle>
          <a:p>
            <a:fld id="{F531C153-56E2-4D58-BF8C-84423A751AD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88054640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1945">
          <p15:clr>
            <a:srgbClr val="FBAE40"/>
          </p15:clr>
        </p15:guide>
        <p15:guide id="2" pos="2754">
          <p15:clr>
            <a:srgbClr val="FBAE40"/>
          </p15:clr>
        </p15:guide>
        <p15:guide id="3" orient="horz" pos="2156">
          <p15:clr>
            <a:srgbClr val="FBAE40"/>
          </p15:clr>
        </p15:guide>
        <p15:guide id="4" orient="horz" pos="2500">
          <p15:clr>
            <a:srgbClr val="FBAE40"/>
          </p15:clr>
        </p15:guide>
        <p15:guide id="5" orient="horz" pos="2711">
          <p15:clr>
            <a:srgbClr val="FBAE40"/>
          </p15:clr>
        </p15:guide>
        <p15:guide id="6" orient="horz" pos="1601">
          <p15:clr>
            <a:srgbClr val="FBAE40"/>
          </p15:clr>
        </p15:guide>
        <p15:guide id="7" orient="horz" pos="1390">
          <p15:clr>
            <a:srgbClr val="FBAE40"/>
          </p15:clr>
        </p15:guide>
        <p15:guide id="8" orient="horz" pos="1046">
          <p15:clr>
            <a:srgbClr val="FBAE40"/>
          </p15:clr>
        </p15:guide>
        <p15:guide id="9" orient="horz" pos="832">
          <p15:clr>
            <a:srgbClr val="FBAE40"/>
          </p15:clr>
        </p15:guide>
        <p15:guide id="10" orient="horz" pos="489">
          <p15:clr>
            <a:srgbClr val="FBAE40"/>
          </p15:clr>
        </p15:guide>
        <p15:guide id="11" orient="horz" pos="277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AGENDA SLID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1" name="Picture 30" descr="A person sitting at a table with a computer and smiling at the camera&#10;&#10;Description automatically generated">
            <a:extLst>
              <a:ext uri="{FF2B5EF4-FFF2-40B4-BE49-F238E27FC236}">
                <a16:creationId xmlns:a16="http://schemas.microsoft.com/office/drawing/2014/main" id="{95289ED6-22CB-3841-B9A4-B6BDC300126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962709" y="1"/>
            <a:ext cx="4229291" cy="6270169"/>
          </a:xfrm>
          <a:prstGeom prst="rect">
            <a:avLst/>
          </a:prstGeom>
        </p:spPr>
      </p:pic>
      <p:pic>
        <p:nvPicPr>
          <p:cNvPr id="4" name="Picture 3" descr="A picture containing sitting, fireworks, grass, water&#10;&#10;Description automatically generated">
            <a:extLst>
              <a:ext uri="{FF2B5EF4-FFF2-40B4-BE49-F238E27FC236}">
                <a16:creationId xmlns:a16="http://schemas.microsoft.com/office/drawing/2014/main" id="{AA5C325F-4A68-544E-9FFF-FFA03FF8879E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1291" r="66084" b="433"/>
          <a:stretch/>
        </p:blipFill>
        <p:spPr>
          <a:xfrm>
            <a:off x="6113377" y="1"/>
            <a:ext cx="2531843" cy="6270169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4CBFDDF4-0565-424E-AFE7-6000EF98D79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5705" y="204645"/>
            <a:ext cx="5514623" cy="684355"/>
          </a:xfrm>
        </p:spPr>
        <p:txBody>
          <a:bodyPr anchor="t"/>
          <a:lstStyle/>
          <a:p>
            <a:r>
              <a:rPr lang="en-US"/>
              <a:t>Click to Add Title</a:t>
            </a:r>
          </a:p>
        </p:txBody>
      </p:sp>
      <p:sp>
        <p:nvSpPr>
          <p:cNvPr id="119" name="Text Placeholder 4">
            <a:extLst>
              <a:ext uri="{FF2B5EF4-FFF2-40B4-BE49-F238E27FC236}">
                <a16:creationId xmlns:a16="http://schemas.microsoft.com/office/drawing/2014/main" id="{FA793AB3-DCD5-0640-A2DA-896E5335DB09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1500480" y="1377493"/>
            <a:ext cx="3756416" cy="449280"/>
          </a:xfrm>
          <a:prstGeom prst="rect">
            <a:avLst/>
          </a:prstGeom>
        </p:spPr>
        <p:txBody>
          <a:bodyPr lIns="0" bIns="0" anchor="b"/>
          <a:lstStyle>
            <a:lvl1pPr>
              <a:defRPr sz="1867" b="1">
                <a:solidFill>
                  <a:schemeClr val="accent2"/>
                </a:solidFill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20" name="Text Placeholder 8">
            <a:extLst>
              <a:ext uri="{FF2B5EF4-FFF2-40B4-BE49-F238E27FC236}">
                <a16:creationId xmlns:a16="http://schemas.microsoft.com/office/drawing/2014/main" id="{3E0D0984-A55E-2841-B60B-21DE166D6C97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385705" y="1377498"/>
            <a:ext cx="901721" cy="924764"/>
          </a:xfrm>
          <a:prstGeom prst="rect">
            <a:avLst/>
          </a:prstGeom>
        </p:spPr>
        <p:txBody>
          <a:bodyPr vert="horz" lIns="91440" tIns="45720" rIns="0" bIns="0" rtlCol="0" anchor="ctr">
            <a:noAutofit/>
          </a:bodyPr>
          <a:lstStyle>
            <a:lvl1pPr algn="r">
              <a:defRPr lang="en-US" sz="4267" b="1" dirty="0">
                <a:solidFill>
                  <a:schemeClr val="accent2"/>
                </a:solidFill>
              </a:defRPr>
            </a:lvl1pPr>
          </a:lstStyle>
          <a:p>
            <a:pPr lvl="0" algn="ctr"/>
            <a:r>
              <a:rPr lang="en-US"/>
              <a:t>01</a:t>
            </a:r>
          </a:p>
        </p:txBody>
      </p:sp>
      <p:sp>
        <p:nvSpPr>
          <p:cNvPr id="121" name="Text Placeholder 4">
            <a:extLst>
              <a:ext uri="{FF2B5EF4-FFF2-40B4-BE49-F238E27FC236}">
                <a16:creationId xmlns:a16="http://schemas.microsoft.com/office/drawing/2014/main" id="{38D71896-0420-2442-8989-13784C60FD43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1500480" y="1852981"/>
            <a:ext cx="3756416" cy="449280"/>
          </a:xfrm>
          <a:prstGeom prst="rect">
            <a:avLst/>
          </a:prstGeom>
        </p:spPr>
        <p:txBody>
          <a:bodyPr lIns="0" tIns="0" anchor="t"/>
          <a:lstStyle>
            <a:lvl1pPr>
              <a:defRPr sz="1600">
                <a:solidFill>
                  <a:schemeClr val="tx1"/>
                </a:solidFill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22" name="Text Placeholder 4">
            <a:extLst>
              <a:ext uri="{FF2B5EF4-FFF2-40B4-BE49-F238E27FC236}">
                <a16:creationId xmlns:a16="http://schemas.microsoft.com/office/drawing/2014/main" id="{2B143784-D8F6-E940-9FF9-DF2980164564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1500480" y="2556008"/>
            <a:ext cx="3756417" cy="449280"/>
          </a:xfrm>
          <a:prstGeom prst="rect">
            <a:avLst/>
          </a:prstGeom>
        </p:spPr>
        <p:txBody>
          <a:bodyPr lIns="0" bIns="0" anchor="b"/>
          <a:lstStyle>
            <a:lvl1pPr>
              <a:defRPr lang="en-US" sz="1867" b="1" i="0" kern="1200" dirty="0">
                <a:solidFill>
                  <a:schemeClr val="accent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23" name="Text Placeholder 8">
            <a:extLst>
              <a:ext uri="{FF2B5EF4-FFF2-40B4-BE49-F238E27FC236}">
                <a16:creationId xmlns:a16="http://schemas.microsoft.com/office/drawing/2014/main" id="{6290917C-F9FF-F740-A706-053C4A763AA9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390790" y="2556010"/>
            <a:ext cx="896636" cy="924767"/>
          </a:xfrm>
          <a:prstGeom prst="rect">
            <a:avLst/>
          </a:prstGeom>
        </p:spPr>
        <p:txBody>
          <a:bodyPr vert="horz" lIns="91440" tIns="45720" rIns="0" bIns="0" rtlCol="0" anchor="ctr">
            <a:noAutofit/>
          </a:bodyPr>
          <a:lstStyle>
            <a:lvl1pPr algn="r">
              <a:defRPr lang="en-US" sz="4267" b="1" i="0" kern="1200" dirty="0">
                <a:solidFill>
                  <a:schemeClr val="accent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</a:lstStyle>
          <a:p>
            <a:pPr marL="0" lvl="0" indent="0" algn="ctr" defTabSz="609585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None/>
            </a:pPr>
            <a:r>
              <a:rPr lang="en-US"/>
              <a:t>02</a:t>
            </a:r>
          </a:p>
        </p:txBody>
      </p:sp>
      <p:sp>
        <p:nvSpPr>
          <p:cNvPr id="124" name="Text Placeholder 4">
            <a:extLst>
              <a:ext uri="{FF2B5EF4-FFF2-40B4-BE49-F238E27FC236}">
                <a16:creationId xmlns:a16="http://schemas.microsoft.com/office/drawing/2014/main" id="{95B97AFB-A90D-3E44-9D39-315D3769F8AC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1500480" y="3031496"/>
            <a:ext cx="3756417" cy="449280"/>
          </a:xfrm>
          <a:prstGeom prst="rect">
            <a:avLst/>
          </a:prstGeom>
        </p:spPr>
        <p:txBody>
          <a:bodyPr lIns="0" tIns="0" anchor="t"/>
          <a:lstStyle>
            <a:lvl1pPr>
              <a:defRPr sz="1600">
                <a:solidFill>
                  <a:schemeClr val="tx1"/>
                </a:solidFill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25" name="Text Placeholder 4">
            <a:extLst>
              <a:ext uri="{FF2B5EF4-FFF2-40B4-BE49-F238E27FC236}">
                <a16:creationId xmlns:a16="http://schemas.microsoft.com/office/drawing/2014/main" id="{85829481-6D7B-F045-8EE9-B4C1ECD75B2F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1500477" y="3731627"/>
            <a:ext cx="3756419" cy="449280"/>
          </a:xfrm>
          <a:prstGeom prst="rect">
            <a:avLst/>
          </a:prstGeom>
        </p:spPr>
        <p:txBody>
          <a:bodyPr lIns="0" bIns="0" anchor="b"/>
          <a:lstStyle>
            <a:lvl1pPr>
              <a:defRPr lang="en-US" sz="1867" b="1" i="0" kern="1200" dirty="0">
                <a:solidFill>
                  <a:schemeClr val="tx2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26" name="Text Placeholder 8">
            <a:extLst>
              <a:ext uri="{FF2B5EF4-FFF2-40B4-BE49-F238E27FC236}">
                <a16:creationId xmlns:a16="http://schemas.microsoft.com/office/drawing/2014/main" id="{DDFAAB57-C865-E142-8013-DC08424C3217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390790" y="3731627"/>
            <a:ext cx="896637" cy="924768"/>
          </a:xfrm>
          <a:prstGeom prst="rect">
            <a:avLst/>
          </a:prstGeom>
        </p:spPr>
        <p:txBody>
          <a:bodyPr vert="horz" lIns="91440" tIns="45720" rIns="0" bIns="0" rtlCol="0" anchor="ctr">
            <a:noAutofit/>
          </a:bodyPr>
          <a:lstStyle>
            <a:lvl1pPr algn="r">
              <a:defRPr lang="en-US" sz="4267" b="1" dirty="0">
                <a:solidFill>
                  <a:schemeClr val="tx2"/>
                </a:solidFill>
              </a:defRPr>
            </a:lvl1pPr>
          </a:lstStyle>
          <a:p>
            <a:pPr lvl="0" algn="ctr"/>
            <a:r>
              <a:rPr lang="en-US"/>
              <a:t>03</a:t>
            </a:r>
          </a:p>
        </p:txBody>
      </p:sp>
      <p:sp>
        <p:nvSpPr>
          <p:cNvPr id="127" name="Text Placeholder 4">
            <a:extLst>
              <a:ext uri="{FF2B5EF4-FFF2-40B4-BE49-F238E27FC236}">
                <a16:creationId xmlns:a16="http://schemas.microsoft.com/office/drawing/2014/main" id="{82E86A85-4E44-8349-A22F-97196BA2E146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1500477" y="4207115"/>
            <a:ext cx="3756419" cy="449280"/>
          </a:xfrm>
          <a:prstGeom prst="rect">
            <a:avLst/>
          </a:prstGeom>
        </p:spPr>
        <p:txBody>
          <a:bodyPr lIns="0" tIns="0" anchor="t"/>
          <a:lstStyle>
            <a:lvl1pPr>
              <a:defRPr sz="1600">
                <a:solidFill>
                  <a:schemeClr val="tx1"/>
                </a:solidFill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28" name="Text Placeholder 4">
            <a:extLst>
              <a:ext uri="{FF2B5EF4-FFF2-40B4-BE49-F238E27FC236}">
                <a16:creationId xmlns:a16="http://schemas.microsoft.com/office/drawing/2014/main" id="{68B0C214-3DE4-C248-B534-D6D2F1B6FCC8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1500477" y="4907245"/>
            <a:ext cx="3756419" cy="449280"/>
          </a:xfrm>
          <a:prstGeom prst="rect">
            <a:avLst/>
          </a:prstGeom>
        </p:spPr>
        <p:txBody>
          <a:bodyPr lIns="0" bIns="0" anchor="b"/>
          <a:lstStyle>
            <a:lvl1pPr>
              <a:defRPr lang="en-US" sz="1867" b="1" i="0" kern="1200" dirty="0">
                <a:solidFill>
                  <a:schemeClr val="accent3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29" name="Text Placeholder 8">
            <a:extLst>
              <a:ext uri="{FF2B5EF4-FFF2-40B4-BE49-F238E27FC236}">
                <a16:creationId xmlns:a16="http://schemas.microsoft.com/office/drawing/2014/main" id="{F54927C7-10AB-6541-9CAD-DF24D237EE27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385705" y="4907245"/>
            <a:ext cx="901721" cy="924768"/>
          </a:xfrm>
          <a:prstGeom prst="rect">
            <a:avLst/>
          </a:prstGeom>
        </p:spPr>
        <p:txBody>
          <a:bodyPr vert="horz" lIns="91440" tIns="45720" rIns="0" bIns="0" rtlCol="0" anchor="ctr">
            <a:noAutofit/>
          </a:bodyPr>
          <a:lstStyle>
            <a:lvl1pPr algn="r">
              <a:defRPr lang="en-US" sz="4267" b="1" dirty="0">
                <a:solidFill>
                  <a:schemeClr val="accent3"/>
                </a:solidFill>
              </a:defRPr>
            </a:lvl1pPr>
          </a:lstStyle>
          <a:p>
            <a:pPr lvl="0" algn="ctr"/>
            <a:r>
              <a:rPr lang="en-US"/>
              <a:t>04</a:t>
            </a:r>
          </a:p>
        </p:txBody>
      </p:sp>
      <p:sp>
        <p:nvSpPr>
          <p:cNvPr id="130" name="Text Placeholder 4">
            <a:extLst>
              <a:ext uri="{FF2B5EF4-FFF2-40B4-BE49-F238E27FC236}">
                <a16:creationId xmlns:a16="http://schemas.microsoft.com/office/drawing/2014/main" id="{CF5B1F37-AEB6-BE44-A4A4-3636711C9D05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1500477" y="5382733"/>
            <a:ext cx="3756419" cy="449280"/>
          </a:xfrm>
          <a:prstGeom prst="rect">
            <a:avLst/>
          </a:prstGeom>
        </p:spPr>
        <p:txBody>
          <a:bodyPr lIns="0" tIns="0" anchor="t"/>
          <a:lstStyle>
            <a:lvl1pPr>
              <a:defRPr sz="1600">
                <a:solidFill>
                  <a:schemeClr val="tx1"/>
                </a:solidFill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DCE14D27-3377-554F-95D1-74791DD94F72}"/>
              </a:ext>
            </a:extLst>
          </p:cNvPr>
          <p:cNvCxnSpPr>
            <a:cxnSpLocks/>
          </p:cNvCxnSpPr>
          <p:nvPr/>
        </p:nvCxnSpPr>
        <p:spPr>
          <a:xfrm>
            <a:off x="1393953" y="5073296"/>
            <a:ext cx="0" cy="592667"/>
          </a:xfrm>
          <a:prstGeom prst="line">
            <a:avLst/>
          </a:prstGeom>
          <a:ln w="19050" cap="rnd" cmpd="sng">
            <a:solidFill>
              <a:schemeClr val="bg1">
                <a:lumMod val="50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AB908FAE-22D5-EB40-B26F-79336CC1F35B}"/>
              </a:ext>
            </a:extLst>
          </p:cNvPr>
          <p:cNvCxnSpPr>
            <a:cxnSpLocks/>
          </p:cNvCxnSpPr>
          <p:nvPr/>
        </p:nvCxnSpPr>
        <p:spPr>
          <a:xfrm>
            <a:off x="1393953" y="3897677"/>
            <a:ext cx="0" cy="592667"/>
          </a:xfrm>
          <a:prstGeom prst="line">
            <a:avLst/>
          </a:prstGeom>
          <a:ln w="19050" cap="rnd" cmpd="sng">
            <a:solidFill>
              <a:schemeClr val="bg1">
                <a:lumMod val="50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38A06532-A4BA-CD4E-B533-E1BDE8537DA5}"/>
              </a:ext>
            </a:extLst>
          </p:cNvPr>
          <p:cNvCxnSpPr>
            <a:cxnSpLocks/>
          </p:cNvCxnSpPr>
          <p:nvPr/>
        </p:nvCxnSpPr>
        <p:spPr>
          <a:xfrm>
            <a:off x="1393953" y="2722059"/>
            <a:ext cx="0" cy="592667"/>
          </a:xfrm>
          <a:prstGeom prst="line">
            <a:avLst/>
          </a:prstGeom>
          <a:ln w="19050" cap="rnd" cmpd="sng">
            <a:solidFill>
              <a:schemeClr val="bg1">
                <a:lumMod val="50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24ED5B35-5E30-724B-87D0-46C006B35C03}"/>
              </a:ext>
            </a:extLst>
          </p:cNvPr>
          <p:cNvCxnSpPr>
            <a:cxnSpLocks/>
          </p:cNvCxnSpPr>
          <p:nvPr/>
        </p:nvCxnSpPr>
        <p:spPr>
          <a:xfrm>
            <a:off x="1393953" y="1543545"/>
            <a:ext cx="0" cy="592667"/>
          </a:xfrm>
          <a:prstGeom prst="line">
            <a:avLst/>
          </a:prstGeom>
          <a:ln w="19050" cap="rnd" cmpd="sng">
            <a:solidFill>
              <a:schemeClr val="bg1">
                <a:lumMod val="50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4" name="Slide Number Placeholder 2">
            <a:extLst>
              <a:ext uri="{FF2B5EF4-FFF2-40B4-BE49-F238E27FC236}">
                <a16:creationId xmlns:a16="http://schemas.microsoft.com/office/drawing/2014/main" id="{49033DAB-530B-4845-B3C4-46C687E9956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bg1"/>
                </a:solidFill>
              </a:defRPr>
            </a:lvl1pPr>
          </a:lstStyle>
          <a:p>
            <a:fld id="{F531C153-56E2-4D58-BF8C-84423A751AD4}" type="slidenum">
              <a:rPr lang="en-US" smtClean="0"/>
              <a:t>‹#›</a:t>
            </a:fld>
            <a:endParaRPr lang="en-US"/>
          </a:p>
        </p:txBody>
      </p:sp>
      <p:sp>
        <p:nvSpPr>
          <p:cNvPr id="26" name="Picture Placeholder 3">
            <a:extLst>
              <a:ext uri="{FF2B5EF4-FFF2-40B4-BE49-F238E27FC236}">
                <a16:creationId xmlns:a16="http://schemas.microsoft.com/office/drawing/2014/main" id="{D62CF837-910E-5748-B034-7862E21ED698}"/>
              </a:ext>
            </a:extLst>
          </p:cNvPr>
          <p:cNvSpPr>
            <a:spLocks noGrp="1"/>
          </p:cNvSpPr>
          <p:nvPr>
            <p:ph type="pic" sz="quarter" idx="61" hasCustomPrompt="1"/>
          </p:nvPr>
        </p:nvSpPr>
        <p:spPr>
          <a:xfrm>
            <a:off x="6113376" y="-2"/>
            <a:ext cx="6078624" cy="6270171"/>
          </a:xfrm>
          <a:prstGeom prst="rect">
            <a:avLst/>
          </a:prstGeom>
        </p:spPr>
        <p:txBody>
          <a:bodyPr vert="horz" lIns="640080" tIns="45720" rIns="640080" bIns="45720" rtlCol="0" anchor="ctr">
            <a:noAutofit/>
          </a:bodyPr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1333">
                <a:solidFill>
                  <a:schemeClr val="bg1"/>
                </a:solidFill>
                <a:highlight>
                  <a:srgbClr val="80B9F9"/>
                </a:highlight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</p:spTree>
    <p:extLst>
      <p:ext uri="{BB962C8B-B14F-4D97-AF65-F5344CB8AC3E}">
        <p14:creationId xmlns:p14="http://schemas.microsoft.com/office/powerpoint/2010/main" val="2915326041"/>
      </p:ext>
    </p:extLst>
  </p:cSld>
  <p:clrMapOvr>
    <a:masterClrMapping/>
  </p:clrMapOvr>
  <p:transition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AGENDA SLID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6" name="Text Placeholder 4">
            <a:extLst>
              <a:ext uri="{FF2B5EF4-FFF2-40B4-BE49-F238E27FC236}">
                <a16:creationId xmlns:a16="http://schemas.microsoft.com/office/drawing/2014/main" id="{95099DE8-574F-9041-8E2B-79625CE7D692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6194158" y="365895"/>
            <a:ext cx="5171605" cy="449280"/>
          </a:xfrm>
          <a:prstGeom prst="rect">
            <a:avLst/>
          </a:prstGeom>
        </p:spPr>
        <p:txBody>
          <a:bodyPr lIns="0" bIns="0" anchor="b"/>
          <a:lstStyle>
            <a:lvl1pPr>
              <a:defRPr sz="1867" b="1">
                <a:solidFill>
                  <a:schemeClr val="accent2"/>
                </a:solidFill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17" name="Text Placeholder 8">
            <a:extLst>
              <a:ext uri="{FF2B5EF4-FFF2-40B4-BE49-F238E27FC236}">
                <a16:creationId xmlns:a16="http://schemas.microsoft.com/office/drawing/2014/main" id="{C1CCAC30-5492-DA47-BC16-AF81DEEE085C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5079382" y="365899"/>
            <a:ext cx="901721" cy="924764"/>
          </a:xfrm>
          <a:prstGeom prst="rect">
            <a:avLst/>
          </a:prstGeom>
        </p:spPr>
        <p:txBody>
          <a:bodyPr vert="horz" lIns="91440" tIns="45720" rIns="0" bIns="0" rtlCol="0" anchor="ctr">
            <a:noAutofit/>
          </a:bodyPr>
          <a:lstStyle>
            <a:lvl1pPr algn="ctr">
              <a:defRPr lang="en-US" sz="4267" b="1" dirty="0">
                <a:solidFill>
                  <a:schemeClr val="accent2"/>
                </a:solidFill>
              </a:defRPr>
            </a:lvl1pPr>
          </a:lstStyle>
          <a:p>
            <a:pPr lvl="0" algn="ctr"/>
            <a:r>
              <a:rPr lang="en-US"/>
              <a:t>01</a:t>
            </a:r>
          </a:p>
        </p:txBody>
      </p:sp>
      <p:sp>
        <p:nvSpPr>
          <p:cNvPr id="118" name="Text Placeholder 4">
            <a:extLst>
              <a:ext uri="{FF2B5EF4-FFF2-40B4-BE49-F238E27FC236}">
                <a16:creationId xmlns:a16="http://schemas.microsoft.com/office/drawing/2014/main" id="{48B7EFB6-5D6B-2140-B682-F250745FADF6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6194158" y="841383"/>
            <a:ext cx="5171605" cy="449280"/>
          </a:xfrm>
          <a:prstGeom prst="rect">
            <a:avLst/>
          </a:prstGeom>
        </p:spPr>
        <p:txBody>
          <a:bodyPr lIns="0" tIns="0" anchor="t"/>
          <a:lstStyle>
            <a:lvl1pPr>
              <a:defRPr sz="1600">
                <a:solidFill>
                  <a:schemeClr val="tx1"/>
                </a:solidFill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19" name="Text Placeholder 4">
            <a:extLst>
              <a:ext uri="{FF2B5EF4-FFF2-40B4-BE49-F238E27FC236}">
                <a16:creationId xmlns:a16="http://schemas.microsoft.com/office/drawing/2014/main" id="{4F253BC2-F500-3148-B49B-29A1793CFA68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6194156" y="1544409"/>
            <a:ext cx="5171608" cy="449280"/>
          </a:xfrm>
          <a:prstGeom prst="rect">
            <a:avLst/>
          </a:prstGeom>
        </p:spPr>
        <p:txBody>
          <a:bodyPr lIns="0" bIns="0" anchor="b"/>
          <a:lstStyle>
            <a:lvl1pPr>
              <a:defRPr lang="en-US" sz="1867" b="1" i="0" kern="1200" dirty="0">
                <a:solidFill>
                  <a:schemeClr val="tx2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20" name="Text Placeholder 8">
            <a:extLst>
              <a:ext uri="{FF2B5EF4-FFF2-40B4-BE49-F238E27FC236}">
                <a16:creationId xmlns:a16="http://schemas.microsoft.com/office/drawing/2014/main" id="{D85B2A18-ED79-A44D-9AFB-C32B455A48ED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5084467" y="1544411"/>
            <a:ext cx="896636" cy="924767"/>
          </a:xfrm>
          <a:prstGeom prst="rect">
            <a:avLst/>
          </a:prstGeom>
        </p:spPr>
        <p:txBody>
          <a:bodyPr vert="horz" lIns="91440" tIns="45720" rIns="0" bIns="0" rtlCol="0" anchor="ctr">
            <a:noAutofit/>
          </a:bodyPr>
          <a:lstStyle>
            <a:lvl1pPr algn="ctr">
              <a:defRPr lang="en-US" sz="4267" b="1" i="0" kern="1200" dirty="0">
                <a:solidFill>
                  <a:schemeClr val="tx2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</a:lstStyle>
          <a:p>
            <a:pPr marL="0" lvl="0" indent="0" algn="ctr" defTabSz="609585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None/>
            </a:pPr>
            <a:r>
              <a:rPr lang="en-US"/>
              <a:t>02</a:t>
            </a:r>
          </a:p>
        </p:txBody>
      </p:sp>
      <p:sp>
        <p:nvSpPr>
          <p:cNvPr id="121" name="Text Placeholder 4">
            <a:extLst>
              <a:ext uri="{FF2B5EF4-FFF2-40B4-BE49-F238E27FC236}">
                <a16:creationId xmlns:a16="http://schemas.microsoft.com/office/drawing/2014/main" id="{6C18B101-901D-774D-A6E3-D83A2A86AB7C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6194156" y="2019897"/>
            <a:ext cx="5171608" cy="449280"/>
          </a:xfrm>
          <a:prstGeom prst="rect">
            <a:avLst/>
          </a:prstGeom>
        </p:spPr>
        <p:txBody>
          <a:bodyPr lIns="0" tIns="0" anchor="t"/>
          <a:lstStyle>
            <a:lvl1pPr>
              <a:defRPr sz="1600">
                <a:solidFill>
                  <a:schemeClr val="tx1"/>
                </a:solidFill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22" name="Text Placeholder 4">
            <a:extLst>
              <a:ext uri="{FF2B5EF4-FFF2-40B4-BE49-F238E27FC236}">
                <a16:creationId xmlns:a16="http://schemas.microsoft.com/office/drawing/2014/main" id="{9F42745A-769E-4A43-9851-1FFB3BC94A9F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6194154" y="2720028"/>
            <a:ext cx="5171609" cy="449280"/>
          </a:xfrm>
          <a:prstGeom prst="rect">
            <a:avLst/>
          </a:prstGeom>
        </p:spPr>
        <p:txBody>
          <a:bodyPr lIns="0" bIns="0" anchor="b"/>
          <a:lstStyle>
            <a:lvl1pPr>
              <a:defRPr lang="en-US" sz="1867" b="1" i="0" kern="1200" dirty="0">
                <a:solidFill>
                  <a:schemeClr val="accent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23" name="Text Placeholder 8">
            <a:extLst>
              <a:ext uri="{FF2B5EF4-FFF2-40B4-BE49-F238E27FC236}">
                <a16:creationId xmlns:a16="http://schemas.microsoft.com/office/drawing/2014/main" id="{9D1AAF0F-2C2A-734B-B00F-F061AE6DE218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5084467" y="2720028"/>
            <a:ext cx="896637" cy="924768"/>
          </a:xfrm>
          <a:prstGeom prst="rect">
            <a:avLst/>
          </a:prstGeom>
        </p:spPr>
        <p:txBody>
          <a:bodyPr vert="horz" lIns="91440" tIns="45720" rIns="0" bIns="0" rtlCol="0" anchor="ctr">
            <a:noAutofit/>
          </a:bodyPr>
          <a:lstStyle>
            <a:lvl1pPr algn="ctr">
              <a:defRPr lang="en-US" sz="4267" b="1" dirty="0">
                <a:solidFill>
                  <a:schemeClr val="accent1"/>
                </a:solidFill>
              </a:defRPr>
            </a:lvl1pPr>
          </a:lstStyle>
          <a:p>
            <a:pPr lvl="0" algn="ctr"/>
            <a:r>
              <a:rPr lang="en-US"/>
              <a:t>03</a:t>
            </a:r>
          </a:p>
        </p:txBody>
      </p:sp>
      <p:sp>
        <p:nvSpPr>
          <p:cNvPr id="124" name="Text Placeholder 4">
            <a:extLst>
              <a:ext uri="{FF2B5EF4-FFF2-40B4-BE49-F238E27FC236}">
                <a16:creationId xmlns:a16="http://schemas.microsoft.com/office/drawing/2014/main" id="{8D272742-9404-1A41-B499-41B229D7A9C7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6194154" y="3195516"/>
            <a:ext cx="5171609" cy="449280"/>
          </a:xfrm>
          <a:prstGeom prst="rect">
            <a:avLst/>
          </a:prstGeom>
        </p:spPr>
        <p:txBody>
          <a:bodyPr lIns="0" tIns="0" anchor="t"/>
          <a:lstStyle>
            <a:lvl1pPr>
              <a:defRPr sz="1600">
                <a:solidFill>
                  <a:schemeClr val="tx1"/>
                </a:solidFill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25" name="Text Placeholder 4">
            <a:extLst>
              <a:ext uri="{FF2B5EF4-FFF2-40B4-BE49-F238E27FC236}">
                <a16:creationId xmlns:a16="http://schemas.microsoft.com/office/drawing/2014/main" id="{7282B8FA-E88E-5B41-83AA-2ED3D85AC861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6194154" y="3895647"/>
            <a:ext cx="5171609" cy="449280"/>
          </a:xfrm>
          <a:prstGeom prst="rect">
            <a:avLst/>
          </a:prstGeom>
        </p:spPr>
        <p:txBody>
          <a:bodyPr lIns="0" bIns="0" anchor="b"/>
          <a:lstStyle>
            <a:lvl1pPr>
              <a:defRPr lang="en-US" sz="1867" b="1" i="0" kern="1200" dirty="0">
                <a:solidFill>
                  <a:schemeClr val="accent3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26" name="Text Placeholder 8">
            <a:extLst>
              <a:ext uri="{FF2B5EF4-FFF2-40B4-BE49-F238E27FC236}">
                <a16:creationId xmlns:a16="http://schemas.microsoft.com/office/drawing/2014/main" id="{ED35D191-5360-274D-8339-74CA37A4B924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5079382" y="3895647"/>
            <a:ext cx="901721" cy="924768"/>
          </a:xfrm>
          <a:prstGeom prst="rect">
            <a:avLst/>
          </a:prstGeom>
        </p:spPr>
        <p:txBody>
          <a:bodyPr vert="horz" lIns="91440" tIns="45720" rIns="0" bIns="0" rtlCol="0" anchor="ctr">
            <a:noAutofit/>
          </a:bodyPr>
          <a:lstStyle>
            <a:lvl1pPr algn="ctr">
              <a:defRPr lang="en-US" sz="4267" b="1" dirty="0">
                <a:solidFill>
                  <a:schemeClr val="accent3"/>
                </a:solidFill>
              </a:defRPr>
            </a:lvl1pPr>
          </a:lstStyle>
          <a:p>
            <a:pPr lvl="0" algn="ctr"/>
            <a:r>
              <a:rPr lang="en-US"/>
              <a:t>04</a:t>
            </a:r>
          </a:p>
        </p:txBody>
      </p:sp>
      <p:sp>
        <p:nvSpPr>
          <p:cNvPr id="127" name="Text Placeholder 4">
            <a:extLst>
              <a:ext uri="{FF2B5EF4-FFF2-40B4-BE49-F238E27FC236}">
                <a16:creationId xmlns:a16="http://schemas.microsoft.com/office/drawing/2014/main" id="{A9E01E94-A714-D248-B7D1-777452121A5E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6194154" y="4371135"/>
            <a:ext cx="5171609" cy="449280"/>
          </a:xfrm>
          <a:prstGeom prst="rect">
            <a:avLst/>
          </a:prstGeom>
        </p:spPr>
        <p:txBody>
          <a:bodyPr lIns="0" tIns="0" anchor="t"/>
          <a:lstStyle>
            <a:lvl1pPr>
              <a:defRPr sz="1600">
                <a:solidFill>
                  <a:schemeClr val="tx1"/>
                </a:solidFill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28" name="Text Placeholder 4">
            <a:extLst>
              <a:ext uri="{FF2B5EF4-FFF2-40B4-BE49-F238E27FC236}">
                <a16:creationId xmlns:a16="http://schemas.microsoft.com/office/drawing/2014/main" id="{69827C6E-2E5A-654F-8129-EECF7C674BF4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6194154" y="5071265"/>
            <a:ext cx="5171609" cy="449280"/>
          </a:xfrm>
          <a:prstGeom prst="rect">
            <a:avLst/>
          </a:prstGeom>
        </p:spPr>
        <p:txBody>
          <a:bodyPr lIns="0" bIns="0" anchor="b"/>
          <a:lstStyle>
            <a:lvl1pPr>
              <a:defRPr lang="en-US" sz="1867" b="1" i="0" kern="1200" dirty="0">
                <a:solidFill>
                  <a:schemeClr val="bg2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29" name="Text Placeholder 8">
            <a:extLst>
              <a:ext uri="{FF2B5EF4-FFF2-40B4-BE49-F238E27FC236}">
                <a16:creationId xmlns:a16="http://schemas.microsoft.com/office/drawing/2014/main" id="{AEEFF60B-AB80-7C4E-AE06-84447952CB7B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5084467" y="5071267"/>
            <a:ext cx="896637" cy="924767"/>
          </a:xfrm>
          <a:prstGeom prst="rect">
            <a:avLst/>
          </a:prstGeom>
        </p:spPr>
        <p:txBody>
          <a:bodyPr vert="horz" lIns="91440" tIns="45720" rIns="0" bIns="0" rtlCol="0" anchor="ctr">
            <a:noAutofit/>
          </a:bodyPr>
          <a:lstStyle>
            <a:lvl1pPr algn="ctr">
              <a:defRPr lang="en-US" sz="4267" b="1" dirty="0">
                <a:solidFill>
                  <a:schemeClr val="bg2"/>
                </a:solidFill>
              </a:defRPr>
            </a:lvl1pPr>
          </a:lstStyle>
          <a:p>
            <a:pPr lvl="0" algn="ctr"/>
            <a:r>
              <a:rPr lang="en-US"/>
              <a:t>05</a:t>
            </a:r>
          </a:p>
        </p:txBody>
      </p:sp>
      <p:sp>
        <p:nvSpPr>
          <p:cNvPr id="130" name="Text Placeholder 4">
            <a:extLst>
              <a:ext uri="{FF2B5EF4-FFF2-40B4-BE49-F238E27FC236}">
                <a16:creationId xmlns:a16="http://schemas.microsoft.com/office/drawing/2014/main" id="{001E0006-A93F-5D4E-B60E-1159575D155E}"/>
              </a:ext>
            </a:extLst>
          </p:cNvPr>
          <p:cNvSpPr>
            <a:spLocks noGrp="1"/>
          </p:cNvSpPr>
          <p:nvPr>
            <p:ph type="body" sz="quarter" idx="63" hasCustomPrompt="1"/>
          </p:nvPr>
        </p:nvSpPr>
        <p:spPr>
          <a:xfrm>
            <a:off x="6194154" y="5546753"/>
            <a:ext cx="5171609" cy="449280"/>
          </a:xfrm>
          <a:prstGeom prst="rect">
            <a:avLst/>
          </a:prstGeom>
        </p:spPr>
        <p:txBody>
          <a:bodyPr lIns="0" tIns="0" anchor="t"/>
          <a:lstStyle>
            <a:lvl1pPr>
              <a:defRPr sz="1600">
                <a:solidFill>
                  <a:schemeClr val="tx1"/>
                </a:solidFill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cxnSp>
        <p:nvCxnSpPr>
          <p:cNvPr id="131" name="Straight Connector 130">
            <a:extLst>
              <a:ext uri="{FF2B5EF4-FFF2-40B4-BE49-F238E27FC236}">
                <a16:creationId xmlns:a16="http://schemas.microsoft.com/office/drawing/2014/main" id="{339C5B0B-1272-1A46-9F84-72356DD13D74}"/>
              </a:ext>
            </a:extLst>
          </p:cNvPr>
          <p:cNvCxnSpPr>
            <a:cxnSpLocks/>
          </p:cNvCxnSpPr>
          <p:nvPr/>
        </p:nvCxnSpPr>
        <p:spPr>
          <a:xfrm>
            <a:off x="6087631" y="5237316"/>
            <a:ext cx="0" cy="592667"/>
          </a:xfrm>
          <a:prstGeom prst="line">
            <a:avLst/>
          </a:prstGeom>
          <a:ln w="19050" cap="rnd" cmpd="sng">
            <a:solidFill>
              <a:schemeClr val="bg1">
                <a:lumMod val="50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2" name="Straight Connector 131">
            <a:extLst>
              <a:ext uri="{FF2B5EF4-FFF2-40B4-BE49-F238E27FC236}">
                <a16:creationId xmlns:a16="http://schemas.microsoft.com/office/drawing/2014/main" id="{1265482E-CCD0-7846-B969-D7D97C615087}"/>
              </a:ext>
            </a:extLst>
          </p:cNvPr>
          <p:cNvCxnSpPr>
            <a:cxnSpLocks/>
          </p:cNvCxnSpPr>
          <p:nvPr/>
        </p:nvCxnSpPr>
        <p:spPr>
          <a:xfrm>
            <a:off x="6087631" y="4061697"/>
            <a:ext cx="0" cy="592667"/>
          </a:xfrm>
          <a:prstGeom prst="line">
            <a:avLst/>
          </a:prstGeom>
          <a:ln w="19050" cap="rnd" cmpd="sng">
            <a:solidFill>
              <a:schemeClr val="bg1">
                <a:lumMod val="50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3" name="Straight Connector 132">
            <a:extLst>
              <a:ext uri="{FF2B5EF4-FFF2-40B4-BE49-F238E27FC236}">
                <a16:creationId xmlns:a16="http://schemas.microsoft.com/office/drawing/2014/main" id="{A984A4B3-E99F-7749-90E7-2C6E22E3CBDB}"/>
              </a:ext>
            </a:extLst>
          </p:cNvPr>
          <p:cNvCxnSpPr>
            <a:cxnSpLocks/>
          </p:cNvCxnSpPr>
          <p:nvPr/>
        </p:nvCxnSpPr>
        <p:spPr>
          <a:xfrm>
            <a:off x="6087631" y="2886079"/>
            <a:ext cx="0" cy="592667"/>
          </a:xfrm>
          <a:prstGeom prst="line">
            <a:avLst/>
          </a:prstGeom>
          <a:ln w="19050" cap="rnd" cmpd="sng">
            <a:solidFill>
              <a:schemeClr val="bg1">
                <a:lumMod val="50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4" name="Straight Connector 133">
            <a:extLst>
              <a:ext uri="{FF2B5EF4-FFF2-40B4-BE49-F238E27FC236}">
                <a16:creationId xmlns:a16="http://schemas.microsoft.com/office/drawing/2014/main" id="{69C01CEA-6C4C-BF4A-9905-36DE0F7CCDA5}"/>
              </a:ext>
            </a:extLst>
          </p:cNvPr>
          <p:cNvCxnSpPr>
            <a:cxnSpLocks/>
          </p:cNvCxnSpPr>
          <p:nvPr/>
        </p:nvCxnSpPr>
        <p:spPr>
          <a:xfrm>
            <a:off x="6087631" y="1710460"/>
            <a:ext cx="0" cy="592667"/>
          </a:xfrm>
          <a:prstGeom prst="line">
            <a:avLst/>
          </a:prstGeom>
          <a:ln w="19050" cap="rnd" cmpd="sng">
            <a:solidFill>
              <a:schemeClr val="bg1">
                <a:lumMod val="50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5" name="Straight Connector 134">
            <a:extLst>
              <a:ext uri="{FF2B5EF4-FFF2-40B4-BE49-F238E27FC236}">
                <a16:creationId xmlns:a16="http://schemas.microsoft.com/office/drawing/2014/main" id="{12C2A6EB-33DC-2843-AE4F-60FBEE0A4511}"/>
              </a:ext>
            </a:extLst>
          </p:cNvPr>
          <p:cNvCxnSpPr>
            <a:cxnSpLocks/>
          </p:cNvCxnSpPr>
          <p:nvPr/>
        </p:nvCxnSpPr>
        <p:spPr>
          <a:xfrm>
            <a:off x="6087631" y="531947"/>
            <a:ext cx="0" cy="592667"/>
          </a:xfrm>
          <a:prstGeom prst="line">
            <a:avLst/>
          </a:prstGeom>
          <a:ln w="19050" cap="rnd" cmpd="sng">
            <a:solidFill>
              <a:schemeClr val="bg1">
                <a:lumMod val="50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4CBFDDF4-0565-424E-AFE7-6000EF98D79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9119" y="2566337"/>
            <a:ext cx="3654215" cy="113749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</a:t>
            </a:r>
            <a:br>
              <a:rPr lang="en-US"/>
            </a:br>
            <a:r>
              <a:rPr lang="en-US"/>
              <a:t>Add Title</a:t>
            </a:r>
          </a:p>
        </p:txBody>
      </p:sp>
      <p:sp>
        <p:nvSpPr>
          <p:cNvPr id="27" name="Slide Number Placeholder 2">
            <a:extLst>
              <a:ext uri="{FF2B5EF4-FFF2-40B4-BE49-F238E27FC236}">
                <a16:creationId xmlns:a16="http://schemas.microsoft.com/office/drawing/2014/main" id="{4CEAB0D7-EE10-3240-ACA1-CAE55C9024E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bg1"/>
                </a:solidFill>
              </a:defRPr>
            </a:lvl1pPr>
          </a:lstStyle>
          <a:p>
            <a:fld id="{F531C153-56E2-4D58-BF8C-84423A751AD4}" type="slidenum">
              <a:rPr lang="en-US" smtClean="0"/>
              <a:t>‹#›</a:t>
            </a:fld>
            <a:endParaRPr lang="en-US"/>
          </a:p>
        </p:txBody>
      </p:sp>
      <p:pic>
        <p:nvPicPr>
          <p:cNvPr id="30" name="Picture 29" descr="A picture containing large, door, covered, standing&#10;&#10;Description automatically generated">
            <a:extLst>
              <a:ext uri="{FF2B5EF4-FFF2-40B4-BE49-F238E27FC236}">
                <a16:creationId xmlns:a16="http://schemas.microsoft.com/office/drawing/2014/main" id="{AB167D74-A4B8-AA45-8E77-F9ED2F62A452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118" t="1215"/>
          <a:stretch/>
        </p:blipFill>
        <p:spPr>
          <a:xfrm>
            <a:off x="-1" y="-6097"/>
            <a:ext cx="4402145" cy="6275663"/>
          </a:xfrm>
          <a:prstGeom prst="rect">
            <a:avLst/>
          </a:prstGeom>
        </p:spPr>
      </p:pic>
      <p:sp>
        <p:nvSpPr>
          <p:cNvPr id="26" name="Picture Placeholder 4">
            <a:extLst>
              <a:ext uri="{FF2B5EF4-FFF2-40B4-BE49-F238E27FC236}">
                <a16:creationId xmlns:a16="http://schemas.microsoft.com/office/drawing/2014/main" id="{EE00522D-98A5-064E-B37C-B66BA2BE6C82}"/>
              </a:ext>
            </a:extLst>
          </p:cNvPr>
          <p:cNvSpPr>
            <a:spLocks noGrp="1"/>
          </p:cNvSpPr>
          <p:nvPr>
            <p:ph type="pic" sz="quarter" idx="45" hasCustomPrompt="1"/>
          </p:nvPr>
        </p:nvSpPr>
        <p:spPr>
          <a:xfrm>
            <a:off x="-1" y="-1"/>
            <a:ext cx="4402145" cy="6264077"/>
          </a:xfrm>
          <a:prstGeom prst="rect">
            <a:avLst/>
          </a:prstGeom>
        </p:spPr>
        <p:txBody>
          <a:bodyPr vert="horz" lIns="548640" tIns="1554480" rIns="548640" bIns="45720" rtlCol="0" anchor="t">
            <a:noAutofit/>
          </a:bodyPr>
          <a:lstStyle>
            <a:lvl1pPr>
              <a:defRPr lang="en-US" sz="1067" dirty="0">
                <a:solidFill>
                  <a:schemeClr val="bg1">
                    <a:alpha val="88000"/>
                  </a:schemeClr>
                </a:solidFill>
                <a:highlight>
                  <a:srgbClr val="80B9F9"/>
                </a:highlight>
              </a:defRPr>
            </a:lvl1pPr>
          </a:lstStyle>
          <a:p>
            <a:pPr marR="0" lvl="0" algn="ctr" fontAlgn="auto">
              <a:buSzTx/>
              <a:tabLst/>
            </a:pPr>
            <a:r>
              <a:rPr lang="en-US"/>
              <a:t>Click icon to change image, or delete the overlay to keep existing image</a:t>
            </a:r>
          </a:p>
        </p:txBody>
      </p:sp>
    </p:spTree>
    <p:extLst>
      <p:ext uri="{BB962C8B-B14F-4D97-AF65-F5344CB8AC3E}">
        <p14:creationId xmlns:p14="http://schemas.microsoft.com/office/powerpoint/2010/main" val="2506667174"/>
      </p:ext>
    </p:extLst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image" Target="../media/image3.png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microsoft.com/office/2007/relationships/hdphoto" Target="../media/hdphoto1.wdp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2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9.xml"/><Relationship Id="rId13" Type="http://schemas.openxmlformats.org/officeDocument/2006/relationships/slideLayout" Target="../slideLayouts/slideLayout34.xml"/><Relationship Id="rId18" Type="http://schemas.openxmlformats.org/officeDocument/2006/relationships/slideLayout" Target="../slideLayouts/slideLayout39.xml"/><Relationship Id="rId3" Type="http://schemas.openxmlformats.org/officeDocument/2006/relationships/slideLayout" Target="../slideLayouts/slideLayout24.xml"/><Relationship Id="rId21" Type="http://schemas.openxmlformats.org/officeDocument/2006/relationships/theme" Target="../theme/theme2.xml"/><Relationship Id="rId7" Type="http://schemas.openxmlformats.org/officeDocument/2006/relationships/slideLayout" Target="../slideLayouts/slideLayout28.xml"/><Relationship Id="rId12" Type="http://schemas.openxmlformats.org/officeDocument/2006/relationships/slideLayout" Target="../slideLayouts/slideLayout33.xml"/><Relationship Id="rId17" Type="http://schemas.openxmlformats.org/officeDocument/2006/relationships/slideLayout" Target="../slideLayouts/slideLayout38.xml"/><Relationship Id="rId2" Type="http://schemas.openxmlformats.org/officeDocument/2006/relationships/slideLayout" Target="../slideLayouts/slideLayout23.xml"/><Relationship Id="rId16" Type="http://schemas.openxmlformats.org/officeDocument/2006/relationships/slideLayout" Target="../slideLayouts/slideLayout37.xml"/><Relationship Id="rId20" Type="http://schemas.openxmlformats.org/officeDocument/2006/relationships/slideLayout" Target="../slideLayouts/slideLayout41.xml"/><Relationship Id="rId1" Type="http://schemas.openxmlformats.org/officeDocument/2006/relationships/slideLayout" Target="../slideLayouts/slideLayout22.xml"/><Relationship Id="rId6" Type="http://schemas.openxmlformats.org/officeDocument/2006/relationships/slideLayout" Target="../slideLayouts/slideLayout27.xml"/><Relationship Id="rId11" Type="http://schemas.openxmlformats.org/officeDocument/2006/relationships/slideLayout" Target="../slideLayouts/slideLayout32.xml"/><Relationship Id="rId5" Type="http://schemas.openxmlformats.org/officeDocument/2006/relationships/slideLayout" Target="../slideLayouts/slideLayout26.xml"/><Relationship Id="rId15" Type="http://schemas.openxmlformats.org/officeDocument/2006/relationships/slideLayout" Target="../slideLayouts/slideLayout36.xml"/><Relationship Id="rId23" Type="http://schemas.openxmlformats.org/officeDocument/2006/relationships/image" Target="../media/image3.png"/><Relationship Id="rId10" Type="http://schemas.openxmlformats.org/officeDocument/2006/relationships/slideLayout" Target="../slideLayouts/slideLayout31.xml"/><Relationship Id="rId19" Type="http://schemas.openxmlformats.org/officeDocument/2006/relationships/slideLayout" Target="../slideLayouts/slideLayout40.xml"/><Relationship Id="rId4" Type="http://schemas.openxmlformats.org/officeDocument/2006/relationships/slideLayout" Target="../slideLayouts/slideLayout25.xml"/><Relationship Id="rId9" Type="http://schemas.openxmlformats.org/officeDocument/2006/relationships/slideLayout" Target="../slideLayouts/slideLayout30.xml"/><Relationship Id="rId14" Type="http://schemas.openxmlformats.org/officeDocument/2006/relationships/slideLayout" Target="../slideLayouts/slideLayout35.xml"/><Relationship Id="rId22" Type="http://schemas.openxmlformats.org/officeDocument/2006/relationships/image" Target="../media/image1.emf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4.xml"/><Relationship Id="rId7" Type="http://schemas.openxmlformats.org/officeDocument/2006/relationships/image" Target="../media/image3.png"/><Relationship Id="rId2" Type="http://schemas.openxmlformats.org/officeDocument/2006/relationships/slideLayout" Target="../slideLayouts/slideLayout43.xml"/><Relationship Id="rId1" Type="http://schemas.openxmlformats.org/officeDocument/2006/relationships/slideLayout" Target="../slideLayouts/slideLayout42.xml"/><Relationship Id="rId6" Type="http://schemas.openxmlformats.org/officeDocument/2006/relationships/image" Target="../media/image1.emf"/><Relationship Id="rId5" Type="http://schemas.openxmlformats.org/officeDocument/2006/relationships/theme" Target="../theme/theme3.xml"/><Relationship Id="rId4" Type="http://schemas.openxmlformats.org/officeDocument/2006/relationships/slideLayout" Target="../slideLayouts/slideLayout45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slideLayout" Target="../slideLayouts/slideLayout48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47.xml"/><Relationship Id="rId1" Type="http://schemas.openxmlformats.org/officeDocument/2006/relationships/slideLayout" Target="../slideLayouts/slideLayout46.xml"/><Relationship Id="rId6" Type="http://schemas.openxmlformats.org/officeDocument/2006/relationships/image" Target="../media/image39.png"/><Relationship Id="rId5" Type="http://schemas.openxmlformats.org/officeDocument/2006/relationships/theme" Target="../theme/theme4.xml"/><Relationship Id="rId10" Type="http://schemas.openxmlformats.org/officeDocument/2006/relationships/image" Target="../media/image3.png"/><Relationship Id="rId4" Type="http://schemas.openxmlformats.org/officeDocument/2006/relationships/slideLayout" Target="../slideLayouts/slideLayout49.xml"/><Relationship Id="rId9" Type="http://schemas.microsoft.com/office/2007/relationships/hdphoto" Target="../media/hdphoto2.wdp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slideLayout" Target="../slideLayouts/slideLayout52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51.xml"/><Relationship Id="rId1" Type="http://schemas.openxmlformats.org/officeDocument/2006/relationships/slideLayout" Target="../slideLayouts/slideLayout50.xml"/><Relationship Id="rId6" Type="http://schemas.openxmlformats.org/officeDocument/2006/relationships/image" Target="../media/image44.png"/><Relationship Id="rId5" Type="http://schemas.openxmlformats.org/officeDocument/2006/relationships/theme" Target="../theme/theme5.xml"/><Relationship Id="rId10" Type="http://schemas.openxmlformats.org/officeDocument/2006/relationships/image" Target="../media/image3.png"/><Relationship Id="rId4" Type="http://schemas.openxmlformats.org/officeDocument/2006/relationships/slideLayout" Target="../slideLayouts/slideLayout53.xml"/><Relationship Id="rId9" Type="http://schemas.microsoft.com/office/2007/relationships/hdphoto" Target="../media/hdphoto6.wdp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slideLayout" Target="../slideLayouts/slideLayout56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55.xml"/><Relationship Id="rId1" Type="http://schemas.openxmlformats.org/officeDocument/2006/relationships/slideLayout" Target="../slideLayouts/slideLayout54.xml"/><Relationship Id="rId6" Type="http://schemas.openxmlformats.org/officeDocument/2006/relationships/image" Target="../media/image51.jpeg"/><Relationship Id="rId5" Type="http://schemas.openxmlformats.org/officeDocument/2006/relationships/theme" Target="../theme/theme6.xml"/><Relationship Id="rId10" Type="http://schemas.openxmlformats.org/officeDocument/2006/relationships/image" Target="../media/image3.png"/><Relationship Id="rId4" Type="http://schemas.openxmlformats.org/officeDocument/2006/relationships/slideLayout" Target="../slideLayouts/slideLayout57.xml"/><Relationship Id="rId9" Type="http://schemas.microsoft.com/office/2007/relationships/hdphoto" Target="../media/hdphoto10.wdp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slideLayout" Target="../slideLayouts/slideLayout60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59.xml"/><Relationship Id="rId1" Type="http://schemas.openxmlformats.org/officeDocument/2006/relationships/slideLayout" Target="../slideLayouts/slideLayout58.xml"/><Relationship Id="rId6" Type="http://schemas.openxmlformats.org/officeDocument/2006/relationships/image" Target="../media/image57.png"/><Relationship Id="rId5" Type="http://schemas.openxmlformats.org/officeDocument/2006/relationships/theme" Target="../theme/theme7.xml"/><Relationship Id="rId10" Type="http://schemas.openxmlformats.org/officeDocument/2006/relationships/image" Target="../media/image3.png"/><Relationship Id="rId4" Type="http://schemas.openxmlformats.org/officeDocument/2006/relationships/slideLayout" Target="../slideLayouts/slideLayout61.xml"/><Relationship Id="rId9" Type="http://schemas.microsoft.com/office/2007/relationships/hdphoto" Target="../media/hdphoto14.wdp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slideLayout" Target="../slideLayouts/slideLayout64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63.xml"/><Relationship Id="rId1" Type="http://schemas.openxmlformats.org/officeDocument/2006/relationships/slideLayout" Target="../slideLayouts/slideLayout62.xml"/><Relationship Id="rId6" Type="http://schemas.openxmlformats.org/officeDocument/2006/relationships/image" Target="../media/image65.jpeg"/><Relationship Id="rId5" Type="http://schemas.openxmlformats.org/officeDocument/2006/relationships/theme" Target="../theme/theme8.xml"/><Relationship Id="rId10" Type="http://schemas.openxmlformats.org/officeDocument/2006/relationships/image" Target="../media/image3.png"/><Relationship Id="rId4" Type="http://schemas.openxmlformats.org/officeDocument/2006/relationships/slideLayout" Target="../slideLayouts/slideLayout65.xml"/><Relationship Id="rId9" Type="http://schemas.microsoft.com/office/2007/relationships/hdphoto" Target="../media/hdphoto18.wdp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B10A9F2-A1E0-E94D-82A3-588C1C5F1A1D}"/>
              </a:ext>
            </a:extLst>
          </p:cNvPr>
          <p:cNvSpPr/>
          <p:nvPr/>
        </p:nvSpPr>
        <p:spPr>
          <a:xfrm>
            <a:off x="0" y="6267980"/>
            <a:ext cx="12192000" cy="590021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>
              <a:solidFill>
                <a:schemeClr val="accent1"/>
              </a:solidFill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69A85343-723A-3440-A14C-8D2A91DCAE98}"/>
              </a:ext>
            </a:extLst>
          </p:cNvPr>
          <p:cNvPicPr>
            <a:picLocks noChangeAspect="1"/>
          </p:cNvPicPr>
          <p:nvPr/>
        </p:nvPicPr>
        <p:blipFill>
          <a:blip r:embed="rId23" cstate="screen">
            <a:lum bright="10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7807" y="6350767"/>
            <a:ext cx="2413101" cy="434259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83396" y="204645"/>
            <a:ext cx="11425211" cy="684355"/>
          </a:xfrm>
          <a:prstGeom prst="rect">
            <a:avLst/>
          </a:prstGeom>
        </p:spPr>
        <p:txBody>
          <a:bodyPr vert="horz" lIns="91440" tIns="45720" rIns="0" bIns="45720" rtlCol="0" anchor="t">
            <a:noAutofit/>
          </a:bodyPr>
          <a:lstStyle/>
          <a:p>
            <a:r>
              <a:rPr lang="en-US" noProof="0"/>
              <a:t>Click to Add Title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BB85E2C7-9DEE-2749-8D3E-424DEB13B151}"/>
              </a:ext>
            </a:extLst>
          </p:cNvPr>
          <p:cNvSpPr/>
          <p:nvPr/>
        </p:nvSpPr>
        <p:spPr>
          <a:xfrm>
            <a:off x="5159688" y="6488347"/>
            <a:ext cx="1872629" cy="256545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marL="0" algn="ctr" defTabSz="609585" rtl="0" eaLnBrk="1" latinLnBrk="0" hangingPunct="1"/>
            <a:r>
              <a:rPr lang="en-US" sz="1067">
                <a:solidFill>
                  <a:schemeClr val="bg1"/>
                </a:solidFill>
              </a:rPr>
              <a:t>Confidential and Proprietary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2F31DDE-E6BB-EF45-952A-D0FA21CC1CF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bg1"/>
                </a:solidFill>
              </a:defRPr>
            </a:lvl1pPr>
          </a:lstStyle>
          <a:p>
            <a:fld id="{F531C153-56E2-4D58-BF8C-84423A751AD4}" type="slidenum">
              <a:rPr lang="en-US" smtClean="0"/>
              <a:t>‹#›</a:t>
            </a:fld>
            <a:endParaRPr lang="en-US"/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251E2FDE-C943-DC49-81D4-58535D13C7F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83394" y="1230694"/>
            <a:ext cx="11425209" cy="4645173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/>
              <a:t>Click to add text </a:t>
            </a:r>
          </a:p>
          <a:p>
            <a:pPr lvl="1"/>
            <a:r>
              <a:rPr lang="en-US"/>
              <a:t> First level bullet</a:t>
            </a:r>
          </a:p>
          <a:p>
            <a:pPr lvl="2"/>
            <a:r>
              <a:rPr lang="en-US"/>
              <a:t>Second level bullet</a:t>
            </a:r>
          </a:p>
          <a:p>
            <a:pPr lvl="3"/>
            <a:r>
              <a:rPr lang="en-US"/>
              <a:t>Third level bullet</a:t>
            </a:r>
          </a:p>
          <a:p>
            <a:pPr lvl="4"/>
            <a:r>
              <a:rPr lang="en-US"/>
              <a:t>Fourth level bullet</a:t>
            </a:r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68BB477A-C9AB-4E42-BEA0-CDEC44B18175}"/>
              </a:ext>
            </a:extLst>
          </p:cNvPr>
          <p:cNvGrpSpPr/>
          <p:nvPr/>
        </p:nvGrpSpPr>
        <p:grpSpPr>
          <a:xfrm>
            <a:off x="10672234" y="6392334"/>
            <a:ext cx="1150623" cy="385495"/>
            <a:chOff x="8004175" y="4794250"/>
            <a:chExt cx="862967" cy="289121"/>
          </a:xfrm>
        </p:grpSpPr>
        <p:pic>
          <p:nvPicPr>
            <p:cNvPr id="17" name="Picture 16" descr="A close up of a sign&#10;&#10;Description automatically generated">
              <a:extLst>
                <a:ext uri="{FF2B5EF4-FFF2-40B4-BE49-F238E27FC236}">
                  <a16:creationId xmlns:a16="http://schemas.microsoft.com/office/drawing/2014/main" id="{D85B9D30-0856-2A44-8F9F-A576604A054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4">
              <a:extLst>
                <a:ext uri="{BEBA8EAE-BF5A-486C-A8C5-ECC9F3942E4B}">
                  <a14:imgProps xmlns:a14="http://schemas.microsoft.com/office/drawing/2010/main">
                    <a14:imgLayer r:embed="rId25">
                      <a14:imgEffect>
                        <a14:brightnessContrast bright="100000"/>
                      </a14:imgEffect>
                    </a14:imgLayer>
                  </a14:imgProps>
                </a:ext>
              </a:extLst>
            </a:blip>
            <a:srcRect l="21996"/>
            <a:stretch/>
          </p:blipFill>
          <p:spPr>
            <a:xfrm>
              <a:off x="8191500" y="4794250"/>
              <a:ext cx="675642" cy="289121"/>
            </a:xfrm>
            <a:prstGeom prst="rect">
              <a:avLst/>
            </a:prstGeom>
          </p:spPr>
        </p:pic>
        <p:pic>
          <p:nvPicPr>
            <p:cNvPr id="20" name="Picture 19" descr="A close up of a sign&#10;&#10;Description automatically generated">
              <a:extLst>
                <a:ext uri="{FF2B5EF4-FFF2-40B4-BE49-F238E27FC236}">
                  <a16:creationId xmlns:a16="http://schemas.microsoft.com/office/drawing/2014/main" id="{CDC8142B-67DB-9540-81FA-1B3130036BC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6"/>
            <a:srcRect l="369" r="78004"/>
            <a:stretch/>
          </p:blipFill>
          <p:spPr>
            <a:xfrm>
              <a:off x="8004175" y="4794250"/>
              <a:ext cx="187325" cy="28912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2871328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734" r:id="rId21"/>
  </p:sldLayoutIdLst>
  <p:transition>
    <p:fade/>
  </p:transition>
  <p:txStyles>
    <p:titleStyle>
      <a:lvl1pPr algn="l" defTabSz="609585" rtl="0" eaLnBrk="1" latinLnBrk="0" hangingPunct="1">
        <a:lnSpc>
          <a:spcPct val="85000"/>
        </a:lnSpc>
        <a:spcBef>
          <a:spcPts val="0"/>
        </a:spcBef>
        <a:spcAft>
          <a:spcPts val="0"/>
        </a:spcAft>
        <a:buNone/>
        <a:defRPr sz="3733" b="1" i="0" kern="1200">
          <a:solidFill>
            <a:schemeClr val="tx2"/>
          </a:solidFill>
          <a:latin typeface="+mj-lt"/>
          <a:ea typeface="Helvetica Neue" panose="02000503000000020004" pitchFamily="2" charset="0"/>
          <a:cs typeface="Helvetica Neue" panose="02000503000000020004" pitchFamily="2" charset="0"/>
        </a:defRPr>
      </a:lvl1pPr>
    </p:titleStyle>
    <p:bodyStyle>
      <a:lvl1pPr marL="160863" indent="-160863" algn="l" defTabSz="609585" rtl="0" eaLnBrk="1" latinLnBrk="0" hangingPunct="1">
        <a:lnSpc>
          <a:spcPct val="100000"/>
        </a:lnSpc>
        <a:spcBef>
          <a:spcPts val="800"/>
        </a:spcBef>
        <a:spcAft>
          <a:spcPts val="0"/>
        </a:spcAft>
        <a:buClr>
          <a:schemeClr val="tx2"/>
        </a:buClr>
        <a:buFont typeface="Arial" panose="020B0604020202020204" pitchFamily="34" charset="0"/>
        <a:buNone/>
        <a:defRPr sz="2667" b="0" i="0" kern="1200">
          <a:solidFill>
            <a:schemeClr val="tx1"/>
          </a:solidFill>
          <a:latin typeface="+mn-lt"/>
          <a:ea typeface="Helvetica Neue Thin" panose="020B0403020202020204" pitchFamily="34" charset="0"/>
          <a:cs typeface="+mn-cs"/>
        </a:defRPr>
      </a:lvl1pPr>
      <a:lvl2pPr marL="160863" indent="-160863" algn="l" defTabSz="609585" rtl="0" eaLnBrk="1" latinLnBrk="0" hangingPunct="1">
        <a:lnSpc>
          <a:spcPct val="100000"/>
        </a:lnSpc>
        <a:spcBef>
          <a:spcPts val="400"/>
        </a:spcBef>
        <a:spcAft>
          <a:spcPts val="0"/>
        </a:spcAft>
        <a:buClr>
          <a:schemeClr val="tx2"/>
        </a:buClr>
        <a:buSzPct val="90000"/>
        <a:buFont typeface="Arial" panose="020B0604020202020204" pitchFamily="34" charset="0"/>
        <a:buChar char="•"/>
        <a:tabLst/>
        <a:defRPr lang="en-US" sz="2400" b="0" i="0" kern="1200" baseline="0" dirty="0" smtClean="0">
          <a:solidFill>
            <a:schemeClr val="tx1"/>
          </a:solidFill>
          <a:latin typeface="+mn-lt"/>
          <a:ea typeface="Helvetica Neue Thin" panose="020B0403020202020204" pitchFamily="34" charset="0"/>
          <a:cs typeface="+mn-cs"/>
        </a:defRPr>
      </a:lvl2pPr>
      <a:lvl3pPr marL="459306" indent="-158492" algn="l" defTabSz="609585" rtl="0" eaLnBrk="1" latinLnBrk="0" hangingPunct="1">
        <a:lnSpc>
          <a:spcPct val="100000"/>
        </a:lnSpc>
        <a:spcBef>
          <a:spcPts val="400"/>
        </a:spcBef>
        <a:spcAft>
          <a:spcPts val="0"/>
        </a:spcAft>
        <a:buClr>
          <a:schemeClr val="tx2"/>
        </a:buClr>
        <a:buSzPct val="90000"/>
        <a:buFont typeface="System Font Regular"/>
        <a:buChar char="⁃"/>
        <a:tabLst/>
        <a:defRPr sz="2400" b="0" i="0" kern="1200">
          <a:solidFill>
            <a:schemeClr val="tx1"/>
          </a:solidFill>
          <a:latin typeface="+mn-lt"/>
          <a:ea typeface="Helvetica Neue Thin" panose="020B0403020202020204" pitchFamily="34" charset="0"/>
          <a:cs typeface="+mn-cs"/>
        </a:defRPr>
      </a:lvl3pPr>
      <a:lvl4pPr marL="764098" indent="-158492" algn="l" defTabSz="609585" rtl="0" eaLnBrk="1" latinLnBrk="0" hangingPunct="1">
        <a:lnSpc>
          <a:spcPct val="100000"/>
        </a:lnSpc>
        <a:spcBef>
          <a:spcPts val="400"/>
        </a:spcBef>
        <a:spcAft>
          <a:spcPts val="0"/>
        </a:spcAft>
        <a:buClr>
          <a:schemeClr val="tx2"/>
        </a:buClr>
        <a:buSzPct val="90000"/>
        <a:buFont typeface="System Font Regular"/>
        <a:buChar char="◦"/>
        <a:tabLst/>
        <a:defRPr sz="2400" b="0" i="0" kern="1200">
          <a:solidFill>
            <a:schemeClr val="tx1"/>
          </a:solidFill>
          <a:latin typeface="+mn-lt"/>
          <a:ea typeface="Helvetica Neue Thin" panose="020B0403020202020204" pitchFamily="34" charset="0"/>
          <a:cs typeface="+mn-cs"/>
        </a:defRPr>
      </a:lvl4pPr>
      <a:lvl5pPr marL="1066773" indent="-148163" algn="l" defTabSz="609585" rtl="0" eaLnBrk="1" latinLnBrk="0" hangingPunct="1">
        <a:lnSpc>
          <a:spcPct val="100000"/>
        </a:lnSpc>
        <a:spcBef>
          <a:spcPts val="400"/>
        </a:spcBef>
        <a:spcAft>
          <a:spcPts val="0"/>
        </a:spcAft>
        <a:buClr>
          <a:schemeClr val="tx2"/>
        </a:buClr>
        <a:buSzPct val="90000"/>
        <a:buFont typeface="System Font Regular"/>
        <a:buChar char="‣"/>
        <a:tabLst/>
        <a:defRPr sz="2400" b="0" i="0" kern="1200">
          <a:solidFill>
            <a:schemeClr val="tx1"/>
          </a:solidFill>
          <a:latin typeface="+mn-lt"/>
          <a:ea typeface="Helvetica Neue Thin" panose="020B0403020202020204" pitchFamily="34" charset="0"/>
          <a:cs typeface="+mn-cs"/>
        </a:defRPr>
      </a:lvl5pPr>
      <a:lvl6pPr marL="1950671" indent="0" algn="l" defTabSz="609585" rtl="0" eaLnBrk="1" latinLnBrk="0" hangingPunct="1">
        <a:lnSpc>
          <a:spcPct val="140000"/>
        </a:lnSpc>
        <a:spcBef>
          <a:spcPts val="32"/>
        </a:spcBef>
        <a:buFont typeface="Arial" panose="020B0604020202020204" pitchFamily="34" charset="0"/>
        <a:buNone/>
        <a:defRPr sz="3733" kern="1200">
          <a:solidFill>
            <a:srgbClr val="7C878E"/>
          </a:solidFill>
          <a:latin typeface="+mn-lt"/>
          <a:ea typeface="+mn-ea"/>
          <a:cs typeface="+mn-cs"/>
        </a:defRPr>
      </a:lvl6pPr>
      <a:lvl7pPr marL="2316422" indent="0" algn="l" defTabSz="609585" rtl="0" eaLnBrk="1" latinLnBrk="0" hangingPunct="1">
        <a:lnSpc>
          <a:spcPct val="140000"/>
        </a:lnSpc>
        <a:spcBef>
          <a:spcPts val="32"/>
        </a:spcBef>
        <a:buFont typeface="Arial"/>
        <a:buNone/>
        <a:defRPr sz="3733" kern="1200" baseline="0">
          <a:solidFill>
            <a:srgbClr val="7C878E"/>
          </a:solidFill>
          <a:latin typeface="+mn-lt"/>
          <a:ea typeface="+mn-ea"/>
          <a:cs typeface="+mn-cs"/>
        </a:defRPr>
      </a:lvl7pPr>
      <a:lvl8pPr marL="2682173" indent="0" algn="l" defTabSz="609585" rtl="0" eaLnBrk="1" latinLnBrk="0" hangingPunct="1">
        <a:lnSpc>
          <a:spcPct val="140000"/>
        </a:lnSpc>
        <a:spcBef>
          <a:spcPts val="32"/>
        </a:spcBef>
        <a:buFont typeface="Arial"/>
        <a:buNone/>
        <a:defRPr sz="3733" kern="1200" baseline="0">
          <a:solidFill>
            <a:srgbClr val="7C878E"/>
          </a:solidFill>
          <a:latin typeface="+mn-lt"/>
          <a:ea typeface="+mn-ea"/>
          <a:cs typeface="+mn-cs"/>
        </a:defRPr>
      </a:lvl8pPr>
      <a:lvl9pPr marL="3047924" indent="0" algn="l" defTabSz="609585" rtl="0" eaLnBrk="1" latinLnBrk="0" hangingPunct="1">
        <a:lnSpc>
          <a:spcPct val="140000"/>
        </a:lnSpc>
        <a:spcBef>
          <a:spcPts val="32"/>
        </a:spcBef>
        <a:buFont typeface="Arial" panose="020B0604020202020204" pitchFamily="34" charset="0"/>
        <a:buNone/>
        <a:defRPr lang="en-US" sz="3733" kern="1200" baseline="0" dirty="0" smtClean="0">
          <a:solidFill>
            <a:srgbClr val="7C878E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93">
          <p15:clr>
            <a:srgbClr val="F26B43"/>
          </p15:clr>
        </p15:guide>
        <p15:guide id="2" pos="2880">
          <p15:clr>
            <a:srgbClr val="F26B43"/>
          </p15:clr>
        </p15:guide>
        <p15:guide id="3" pos="168">
          <p15:clr>
            <a:srgbClr val="F26B43"/>
          </p15:clr>
        </p15:guide>
        <p15:guide id="5" orient="horz" pos="3163">
          <p15:clr>
            <a:srgbClr val="F26B43"/>
          </p15:clr>
        </p15:guide>
        <p15:guide id="6" pos="5580">
          <p15:clr>
            <a:srgbClr val="F26B43"/>
          </p15:clr>
        </p15:guide>
        <p15:guide id="7" orient="horz" pos="425">
          <p15:clr>
            <a:srgbClr val="F26B43"/>
          </p15:clr>
        </p15:guide>
        <p15:guide id="8" orient="horz" pos="588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83396" y="204645"/>
            <a:ext cx="11425211" cy="684355"/>
          </a:xfrm>
          <a:prstGeom prst="rect">
            <a:avLst/>
          </a:prstGeom>
        </p:spPr>
        <p:txBody>
          <a:bodyPr vert="horz" lIns="91440" tIns="45720" rIns="0" bIns="45720" rtlCol="0" anchor="t">
            <a:noAutofit/>
          </a:bodyPr>
          <a:lstStyle/>
          <a:p>
            <a:r>
              <a:rPr lang="en-US" noProof="0"/>
              <a:t>Click to Add Title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BB85E2C7-9DEE-2749-8D3E-424DEB13B151}"/>
              </a:ext>
            </a:extLst>
          </p:cNvPr>
          <p:cNvSpPr/>
          <p:nvPr/>
        </p:nvSpPr>
        <p:spPr>
          <a:xfrm>
            <a:off x="5159688" y="6472990"/>
            <a:ext cx="1872629" cy="256545"/>
          </a:xfrm>
          <a:prstGeom prst="rect">
            <a:avLst/>
          </a:prstGeom>
        </p:spPr>
        <p:txBody>
          <a:bodyPr wrap="none" anchor="t">
            <a:spAutoFit/>
          </a:bodyPr>
          <a:lstStyle/>
          <a:p>
            <a:pPr marL="0" algn="ctr" defTabSz="609585" rtl="0" eaLnBrk="1" latinLnBrk="0" hangingPunct="1"/>
            <a:r>
              <a:rPr lang="en-US" sz="1067">
                <a:solidFill>
                  <a:schemeClr val="tx1">
                    <a:lumMod val="50000"/>
                  </a:schemeClr>
                </a:solidFill>
              </a:rPr>
              <a:t>Confidential and Proprietary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434F7E3-E31D-6245-96D7-7EB7AAC44AC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83394" y="1230694"/>
            <a:ext cx="11425209" cy="4645173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 First level bullet</a:t>
            </a:r>
          </a:p>
          <a:p>
            <a:pPr lvl="2"/>
            <a:r>
              <a:rPr lang="en-US"/>
              <a:t>Second level bullet</a:t>
            </a:r>
          </a:p>
          <a:p>
            <a:pPr lvl="3"/>
            <a:r>
              <a:rPr lang="en-US"/>
              <a:t>Third level bullet</a:t>
            </a:r>
          </a:p>
          <a:p>
            <a:pPr lvl="4"/>
            <a:r>
              <a:rPr lang="en-US"/>
              <a:t>Fourth level bullet</a:t>
            </a:r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9DBB97A2-614B-BD46-839B-031064799D6A}"/>
              </a:ext>
            </a:extLst>
          </p:cNvPr>
          <p:cNvPicPr>
            <a:picLocks noChangeAspect="1"/>
          </p:cNvPicPr>
          <p:nvPr/>
        </p:nvPicPr>
        <p:blipFill>
          <a:blip r:embed="rId2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7806" y="6350767"/>
            <a:ext cx="2413103" cy="434259"/>
          </a:xfrm>
          <a:prstGeom prst="rect">
            <a:avLst/>
          </a:prstGeom>
        </p:spPr>
      </p:pic>
      <p:sp>
        <p:nvSpPr>
          <p:cNvPr id="8" name="Slide Number Placeholder 2">
            <a:extLst>
              <a:ext uri="{FF2B5EF4-FFF2-40B4-BE49-F238E27FC236}">
                <a16:creationId xmlns:a16="http://schemas.microsoft.com/office/drawing/2014/main" id="{DACF804F-C6C2-1B46-823A-D918C287F79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tx1">
                    <a:lumMod val="50000"/>
                  </a:schemeClr>
                </a:solidFill>
              </a:defRPr>
            </a:lvl1pPr>
          </a:lstStyle>
          <a:p>
            <a:fld id="{AD6BAA4E-5F47-E640-8B90-67FB6D90528D}" type="slidenum">
              <a:rPr lang="en-US" smtClean="0"/>
              <a:pPr/>
              <a:t>‹#›</a:t>
            </a:fld>
            <a:endParaRPr lang="en-US"/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3EDB9C8F-3113-1149-9003-8544FAC473F2}"/>
              </a:ext>
            </a:extLst>
          </p:cNvPr>
          <p:cNvGrpSpPr/>
          <p:nvPr/>
        </p:nvGrpSpPr>
        <p:grpSpPr>
          <a:xfrm>
            <a:off x="10672234" y="6392334"/>
            <a:ext cx="1150623" cy="385495"/>
            <a:chOff x="8004175" y="4794250"/>
            <a:chExt cx="862967" cy="289121"/>
          </a:xfrm>
        </p:grpSpPr>
        <p:pic>
          <p:nvPicPr>
            <p:cNvPr id="16" name="Picture 15" descr="A close up of a sign&#10;&#10;Description automatically generated">
              <a:extLst>
                <a:ext uri="{FF2B5EF4-FFF2-40B4-BE49-F238E27FC236}">
                  <a16:creationId xmlns:a16="http://schemas.microsoft.com/office/drawing/2014/main" id="{9AF60A1C-96C1-9C4A-B5D8-7FAEE70227E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3"/>
            <a:srcRect l="21996"/>
            <a:stretch/>
          </p:blipFill>
          <p:spPr>
            <a:xfrm>
              <a:off x="8191500" y="4794250"/>
              <a:ext cx="675642" cy="289121"/>
            </a:xfrm>
            <a:prstGeom prst="rect">
              <a:avLst/>
            </a:prstGeom>
          </p:spPr>
        </p:pic>
        <p:pic>
          <p:nvPicPr>
            <p:cNvPr id="17" name="Picture 16" descr="A close up of a sign&#10;&#10;Description automatically generated">
              <a:extLst>
                <a:ext uri="{FF2B5EF4-FFF2-40B4-BE49-F238E27FC236}">
                  <a16:creationId xmlns:a16="http://schemas.microsoft.com/office/drawing/2014/main" id="{8E7C997B-356E-884C-B228-A4F8ED47822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3"/>
            <a:srcRect l="369" r="78004"/>
            <a:stretch/>
          </p:blipFill>
          <p:spPr>
            <a:xfrm>
              <a:off x="8004175" y="4794250"/>
              <a:ext cx="187325" cy="28912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9782121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3" r:id="rId1"/>
    <p:sldLayoutId id="2147483684" r:id="rId2"/>
    <p:sldLayoutId id="2147483685" r:id="rId3"/>
    <p:sldLayoutId id="2147483686" r:id="rId4"/>
    <p:sldLayoutId id="2147483687" r:id="rId5"/>
    <p:sldLayoutId id="2147483688" r:id="rId6"/>
    <p:sldLayoutId id="2147483689" r:id="rId7"/>
    <p:sldLayoutId id="2147483690" r:id="rId8"/>
    <p:sldLayoutId id="2147483691" r:id="rId9"/>
    <p:sldLayoutId id="2147483692" r:id="rId10"/>
    <p:sldLayoutId id="2147483693" r:id="rId11"/>
    <p:sldLayoutId id="2147483694" r:id="rId12"/>
    <p:sldLayoutId id="2147483695" r:id="rId13"/>
    <p:sldLayoutId id="2147483696" r:id="rId14"/>
    <p:sldLayoutId id="2147483697" r:id="rId15"/>
    <p:sldLayoutId id="2147483698" r:id="rId16"/>
    <p:sldLayoutId id="2147483699" r:id="rId17"/>
    <p:sldLayoutId id="2147483700" r:id="rId18"/>
    <p:sldLayoutId id="2147483701" r:id="rId19"/>
    <p:sldLayoutId id="2147483702" r:id="rId20"/>
  </p:sldLayoutIdLst>
  <p:transition>
    <p:fade/>
  </p:transition>
  <p:hf hdr="0" ftr="0" dt="0"/>
  <p:txStyles>
    <p:titleStyle>
      <a:lvl1pPr algn="l" defTabSz="609585" rtl="0" eaLnBrk="1" latinLnBrk="0" hangingPunct="1">
        <a:lnSpc>
          <a:spcPct val="85000"/>
        </a:lnSpc>
        <a:spcBef>
          <a:spcPts val="0"/>
        </a:spcBef>
        <a:spcAft>
          <a:spcPts val="0"/>
        </a:spcAft>
        <a:buNone/>
        <a:defRPr sz="3733" b="1" i="0" kern="1200">
          <a:solidFill>
            <a:srgbClr val="0088D0"/>
          </a:solidFill>
          <a:latin typeface="+mj-lt"/>
          <a:ea typeface="Helvetica Neue" panose="02000503000000020004" pitchFamily="2" charset="0"/>
          <a:cs typeface="Helvetica Neue" panose="02000503000000020004" pitchFamily="2" charset="0"/>
        </a:defRPr>
      </a:lvl1pPr>
    </p:titleStyle>
    <p:bodyStyle>
      <a:lvl1pPr marL="0" indent="0" algn="l" defTabSz="609585" rtl="0" eaLnBrk="1" latinLnBrk="0" hangingPunct="1">
        <a:lnSpc>
          <a:spcPct val="100000"/>
        </a:lnSpc>
        <a:spcBef>
          <a:spcPts val="800"/>
        </a:spcBef>
        <a:spcAft>
          <a:spcPts val="0"/>
        </a:spcAft>
        <a:buClr>
          <a:schemeClr val="tx2"/>
        </a:buClr>
        <a:buFont typeface="Arial" panose="020B0604020202020204" pitchFamily="34" charset="0"/>
        <a:buNone/>
        <a:defRPr lang="en-US" sz="2667" b="0" i="0" kern="1200" dirty="0">
          <a:solidFill>
            <a:schemeClr val="tx1"/>
          </a:solidFill>
          <a:latin typeface="+mn-lt"/>
          <a:ea typeface="Helvetica Neue Thin" panose="020B0403020202020204" pitchFamily="34" charset="0"/>
          <a:cs typeface="+mn-cs"/>
        </a:defRPr>
      </a:lvl1pPr>
      <a:lvl2pPr marL="160863" indent="-160863" algn="l" defTabSz="609585" rtl="0" eaLnBrk="1" latinLnBrk="0" hangingPunct="1">
        <a:lnSpc>
          <a:spcPct val="100000"/>
        </a:lnSpc>
        <a:spcBef>
          <a:spcPts val="400"/>
        </a:spcBef>
        <a:spcAft>
          <a:spcPts val="0"/>
        </a:spcAft>
        <a:buClr>
          <a:schemeClr val="accent1"/>
        </a:buClr>
        <a:buSzPct val="90000"/>
        <a:buFont typeface="Arial" panose="020B0604020202020204" pitchFamily="34" charset="0"/>
        <a:buChar char="•"/>
        <a:tabLst/>
        <a:defRPr lang="en-US" sz="2400" b="0" i="0" kern="1200" baseline="0" dirty="0">
          <a:solidFill>
            <a:schemeClr val="tx1"/>
          </a:solidFill>
          <a:latin typeface="+mn-lt"/>
          <a:ea typeface="Helvetica Neue Thin" panose="020B0403020202020204" pitchFamily="34" charset="0"/>
          <a:cs typeface="+mn-cs"/>
        </a:defRPr>
      </a:lvl2pPr>
      <a:lvl3pPr marL="459306" indent="-158492" algn="l" defTabSz="609585" rtl="0" eaLnBrk="1" latinLnBrk="0" hangingPunct="1">
        <a:lnSpc>
          <a:spcPct val="100000"/>
        </a:lnSpc>
        <a:spcBef>
          <a:spcPts val="400"/>
        </a:spcBef>
        <a:spcAft>
          <a:spcPts val="0"/>
        </a:spcAft>
        <a:buClr>
          <a:schemeClr val="accent1"/>
        </a:buClr>
        <a:buSzPct val="90000"/>
        <a:buFont typeface="System Font Regular"/>
        <a:buChar char="⁃"/>
        <a:tabLst/>
        <a:defRPr lang="en-US" sz="2400" b="0" i="0" kern="1200" baseline="0" dirty="0">
          <a:solidFill>
            <a:schemeClr val="tx1"/>
          </a:solidFill>
          <a:latin typeface="+mn-lt"/>
          <a:ea typeface="Helvetica Neue Thin" panose="020B0403020202020204" pitchFamily="34" charset="0"/>
          <a:cs typeface="+mn-cs"/>
        </a:defRPr>
      </a:lvl3pPr>
      <a:lvl4pPr marL="764098" indent="-158492" algn="l" defTabSz="609585" rtl="0" eaLnBrk="1" latinLnBrk="0" hangingPunct="1">
        <a:lnSpc>
          <a:spcPct val="100000"/>
        </a:lnSpc>
        <a:spcBef>
          <a:spcPts val="400"/>
        </a:spcBef>
        <a:spcAft>
          <a:spcPts val="0"/>
        </a:spcAft>
        <a:buClr>
          <a:schemeClr val="accent1"/>
        </a:buClr>
        <a:buSzPct val="90000"/>
        <a:buFont typeface="System Font Regular"/>
        <a:buChar char="◦"/>
        <a:tabLst/>
        <a:defRPr lang="en-US" sz="2400" b="0" i="0" kern="1200" baseline="0" dirty="0">
          <a:solidFill>
            <a:schemeClr val="tx1"/>
          </a:solidFill>
          <a:latin typeface="+mn-lt"/>
          <a:ea typeface="Helvetica Neue Thin" panose="020B0403020202020204" pitchFamily="34" charset="0"/>
          <a:cs typeface="+mn-cs"/>
        </a:defRPr>
      </a:lvl4pPr>
      <a:lvl5pPr marL="1066773" indent="-148163" algn="l" defTabSz="609585" rtl="0" eaLnBrk="1" latinLnBrk="0" hangingPunct="1">
        <a:lnSpc>
          <a:spcPct val="100000"/>
        </a:lnSpc>
        <a:spcBef>
          <a:spcPts val="400"/>
        </a:spcBef>
        <a:spcAft>
          <a:spcPts val="0"/>
        </a:spcAft>
        <a:buClr>
          <a:schemeClr val="accent1"/>
        </a:buClr>
        <a:buSzPct val="90000"/>
        <a:buFont typeface="System Font Regular"/>
        <a:buChar char="‣"/>
        <a:tabLst/>
        <a:defRPr lang="en-US" sz="2400" b="0" i="0" kern="1200" baseline="0" dirty="0">
          <a:solidFill>
            <a:schemeClr val="tx1"/>
          </a:solidFill>
          <a:latin typeface="+mn-lt"/>
          <a:ea typeface="Helvetica Neue Thin" panose="020B0403020202020204" pitchFamily="34" charset="0"/>
          <a:cs typeface="+mn-cs"/>
        </a:defRPr>
      </a:lvl5pPr>
      <a:lvl6pPr marL="1950671" indent="0" algn="l" defTabSz="609585" rtl="0" eaLnBrk="1" latinLnBrk="0" hangingPunct="1">
        <a:lnSpc>
          <a:spcPct val="140000"/>
        </a:lnSpc>
        <a:spcBef>
          <a:spcPts val="32"/>
        </a:spcBef>
        <a:buFont typeface="Arial" panose="020B0604020202020204" pitchFamily="34" charset="0"/>
        <a:buNone/>
        <a:defRPr sz="3733" kern="1200">
          <a:solidFill>
            <a:srgbClr val="7C878E"/>
          </a:solidFill>
          <a:latin typeface="+mn-lt"/>
          <a:ea typeface="+mn-ea"/>
          <a:cs typeface="+mn-cs"/>
        </a:defRPr>
      </a:lvl6pPr>
      <a:lvl7pPr marL="2316422" indent="0" algn="l" defTabSz="609585" rtl="0" eaLnBrk="1" latinLnBrk="0" hangingPunct="1">
        <a:lnSpc>
          <a:spcPct val="140000"/>
        </a:lnSpc>
        <a:spcBef>
          <a:spcPts val="32"/>
        </a:spcBef>
        <a:buFont typeface="Arial"/>
        <a:buNone/>
        <a:defRPr sz="3733" kern="1200" baseline="0">
          <a:solidFill>
            <a:srgbClr val="7C878E"/>
          </a:solidFill>
          <a:latin typeface="+mn-lt"/>
          <a:ea typeface="+mn-ea"/>
          <a:cs typeface="+mn-cs"/>
        </a:defRPr>
      </a:lvl7pPr>
      <a:lvl8pPr marL="2682173" indent="0" algn="l" defTabSz="609585" rtl="0" eaLnBrk="1" latinLnBrk="0" hangingPunct="1">
        <a:lnSpc>
          <a:spcPct val="140000"/>
        </a:lnSpc>
        <a:spcBef>
          <a:spcPts val="32"/>
        </a:spcBef>
        <a:buFont typeface="Arial"/>
        <a:buNone/>
        <a:defRPr sz="3733" kern="1200" baseline="0">
          <a:solidFill>
            <a:srgbClr val="7C878E"/>
          </a:solidFill>
          <a:latin typeface="+mn-lt"/>
          <a:ea typeface="+mn-ea"/>
          <a:cs typeface="+mn-cs"/>
        </a:defRPr>
      </a:lvl8pPr>
      <a:lvl9pPr marL="3047924" indent="0" algn="l" defTabSz="609585" rtl="0" eaLnBrk="1" latinLnBrk="0" hangingPunct="1">
        <a:lnSpc>
          <a:spcPct val="140000"/>
        </a:lnSpc>
        <a:spcBef>
          <a:spcPts val="32"/>
        </a:spcBef>
        <a:buFont typeface="Arial" panose="020B0604020202020204" pitchFamily="34" charset="0"/>
        <a:buNone/>
        <a:defRPr lang="en-US" sz="3733" kern="1200" baseline="0" dirty="0" smtClean="0">
          <a:solidFill>
            <a:srgbClr val="7C878E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93">
          <p15:clr>
            <a:srgbClr val="F26B43"/>
          </p15:clr>
        </p15:guide>
        <p15:guide id="2" pos="2880">
          <p15:clr>
            <a:srgbClr val="F26B43"/>
          </p15:clr>
        </p15:guide>
        <p15:guide id="3" pos="168">
          <p15:clr>
            <a:srgbClr val="F26B43"/>
          </p15:clr>
        </p15:guide>
        <p15:guide id="5" orient="horz" pos="3163">
          <p15:clr>
            <a:srgbClr val="F26B43"/>
          </p15:clr>
        </p15:guide>
        <p15:guide id="6" pos="5580">
          <p15:clr>
            <a:srgbClr val="F26B43"/>
          </p15:clr>
        </p15:guide>
        <p15:guide id="7" orient="horz" pos="425">
          <p15:clr>
            <a:srgbClr val="F26B43"/>
          </p15:clr>
        </p15:guide>
        <p15:guide id="8" orient="horz" pos="588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83396" y="204645"/>
            <a:ext cx="11425211" cy="684355"/>
          </a:xfrm>
          <a:prstGeom prst="rect">
            <a:avLst/>
          </a:prstGeom>
        </p:spPr>
        <p:txBody>
          <a:bodyPr vert="horz" lIns="91440" tIns="45720" rIns="0" bIns="45720" rtlCol="0" anchor="t">
            <a:noAutofit/>
          </a:bodyPr>
          <a:lstStyle/>
          <a:p>
            <a:r>
              <a:rPr lang="en-US" noProof="0"/>
              <a:t>Click to Add Title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BB85E2C7-9DEE-2749-8D3E-424DEB13B151}"/>
              </a:ext>
            </a:extLst>
          </p:cNvPr>
          <p:cNvSpPr/>
          <p:nvPr/>
        </p:nvSpPr>
        <p:spPr>
          <a:xfrm>
            <a:off x="5159688" y="6472990"/>
            <a:ext cx="1872629" cy="256545"/>
          </a:xfrm>
          <a:prstGeom prst="rect">
            <a:avLst/>
          </a:prstGeom>
        </p:spPr>
        <p:txBody>
          <a:bodyPr wrap="none" anchor="t">
            <a:spAutoFit/>
          </a:bodyPr>
          <a:lstStyle/>
          <a:p>
            <a:pPr marL="0" algn="ctr" defTabSz="609585" rtl="0" eaLnBrk="1" latinLnBrk="0" hangingPunct="1"/>
            <a:r>
              <a:rPr lang="en-US" sz="1067">
                <a:solidFill>
                  <a:schemeClr val="tx1">
                    <a:lumMod val="50000"/>
                  </a:schemeClr>
                </a:solidFill>
              </a:rPr>
              <a:t>Confidential and Proprietary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434F7E3-E31D-6245-96D7-7EB7AAC44AC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83394" y="1230694"/>
            <a:ext cx="11425209" cy="4645173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 First level bullet</a:t>
            </a:r>
          </a:p>
          <a:p>
            <a:pPr lvl="2"/>
            <a:r>
              <a:rPr lang="en-US"/>
              <a:t>Second level bullet</a:t>
            </a:r>
          </a:p>
          <a:p>
            <a:pPr lvl="3"/>
            <a:r>
              <a:rPr lang="en-US"/>
              <a:t>Third level bullet</a:t>
            </a:r>
          </a:p>
          <a:p>
            <a:pPr lvl="4"/>
            <a:r>
              <a:rPr lang="en-US"/>
              <a:t>Fourth level bullet</a:t>
            </a:r>
          </a:p>
        </p:txBody>
      </p:sp>
      <p:sp>
        <p:nvSpPr>
          <p:cNvPr id="8" name="Slide Number Placeholder 2">
            <a:extLst>
              <a:ext uri="{FF2B5EF4-FFF2-40B4-BE49-F238E27FC236}">
                <a16:creationId xmlns:a16="http://schemas.microsoft.com/office/drawing/2014/main" id="{DACF804F-C6C2-1B46-823A-D918C287F79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tx1">
                    <a:lumMod val="50000"/>
                  </a:schemeClr>
                </a:solidFill>
              </a:defRPr>
            </a:lvl1pPr>
          </a:lstStyle>
          <a:p>
            <a:fld id="{AD6BAA4E-5F47-E640-8B90-67FB6D90528D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CA089B88-B6FF-EB46-BD00-8F90CF125F94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7806" y="6350767"/>
            <a:ext cx="2413103" cy="434259"/>
          </a:xfrm>
          <a:prstGeom prst="rect">
            <a:avLst/>
          </a:prstGeom>
        </p:spPr>
      </p:pic>
      <p:grpSp>
        <p:nvGrpSpPr>
          <p:cNvPr id="15" name="Group 14">
            <a:extLst>
              <a:ext uri="{FF2B5EF4-FFF2-40B4-BE49-F238E27FC236}">
                <a16:creationId xmlns:a16="http://schemas.microsoft.com/office/drawing/2014/main" id="{021F2199-D67B-FF4B-B21C-77A3148FF341}"/>
              </a:ext>
            </a:extLst>
          </p:cNvPr>
          <p:cNvGrpSpPr/>
          <p:nvPr/>
        </p:nvGrpSpPr>
        <p:grpSpPr>
          <a:xfrm>
            <a:off x="10672234" y="6392334"/>
            <a:ext cx="1150623" cy="385495"/>
            <a:chOff x="8004175" y="4794250"/>
            <a:chExt cx="862967" cy="289121"/>
          </a:xfrm>
        </p:grpSpPr>
        <p:pic>
          <p:nvPicPr>
            <p:cNvPr id="16" name="Picture 15" descr="A close up of a sign&#10;&#10;Description automatically generated">
              <a:extLst>
                <a:ext uri="{FF2B5EF4-FFF2-40B4-BE49-F238E27FC236}">
                  <a16:creationId xmlns:a16="http://schemas.microsoft.com/office/drawing/2014/main" id="{CF9E8360-7A19-A040-B093-CEB7431F7AE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/>
            <a:srcRect l="21996"/>
            <a:stretch/>
          </p:blipFill>
          <p:spPr>
            <a:xfrm>
              <a:off x="8191500" y="4794250"/>
              <a:ext cx="675642" cy="289121"/>
            </a:xfrm>
            <a:prstGeom prst="rect">
              <a:avLst/>
            </a:prstGeom>
          </p:spPr>
        </p:pic>
        <p:pic>
          <p:nvPicPr>
            <p:cNvPr id="17" name="Picture 16" descr="A close up of a sign&#10;&#10;Description automatically generated">
              <a:extLst>
                <a:ext uri="{FF2B5EF4-FFF2-40B4-BE49-F238E27FC236}">
                  <a16:creationId xmlns:a16="http://schemas.microsoft.com/office/drawing/2014/main" id="{371D90C3-0694-DC41-BAB7-62E3362C2EA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/>
            <a:srcRect l="369" r="78004"/>
            <a:stretch/>
          </p:blipFill>
          <p:spPr>
            <a:xfrm>
              <a:off x="8004175" y="4794250"/>
              <a:ext cx="187325" cy="28912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9133281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4" r:id="rId1"/>
    <p:sldLayoutId id="2147483705" r:id="rId2"/>
    <p:sldLayoutId id="2147483706" r:id="rId3"/>
    <p:sldLayoutId id="2147483707" r:id="rId4"/>
  </p:sldLayoutIdLst>
  <p:transition>
    <p:fade/>
  </p:transition>
  <p:hf hdr="0" ftr="0" dt="0"/>
  <p:txStyles>
    <p:titleStyle>
      <a:lvl1pPr algn="l" defTabSz="609585" rtl="0" eaLnBrk="1" latinLnBrk="0" hangingPunct="1">
        <a:lnSpc>
          <a:spcPct val="85000"/>
        </a:lnSpc>
        <a:spcBef>
          <a:spcPts val="0"/>
        </a:spcBef>
        <a:spcAft>
          <a:spcPts val="0"/>
        </a:spcAft>
        <a:buNone/>
        <a:defRPr sz="3733" b="1" i="0" kern="1200">
          <a:solidFill>
            <a:srgbClr val="0088D0"/>
          </a:solidFill>
          <a:latin typeface="+mj-lt"/>
          <a:ea typeface="Helvetica Neue" panose="02000503000000020004" pitchFamily="2" charset="0"/>
          <a:cs typeface="Helvetica Neue" panose="02000503000000020004" pitchFamily="2" charset="0"/>
        </a:defRPr>
      </a:lvl1pPr>
    </p:titleStyle>
    <p:bodyStyle>
      <a:lvl1pPr marL="0" indent="0" algn="l" defTabSz="609585" rtl="0" eaLnBrk="1" latinLnBrk="0" hangingPunct="1">
        <a:lnSpc>
          <a:spcPct val="100000"/>
        </a:lnSpc>
        <a:spcBef>
          <a:spcPts val="800"/>
        </a:spcBef>
        <a:spcAft>
          <a:spcPts val="0"/>
        </a:spcAft>
        <a:buClr>
          <a:schemeClr val="tx2"/>
        </a:buClr>
        <a:buFont typeface="Arial" panose="020B0604020202020204" pitchFamily="34" charset="0"/>
        <a:buNone/>
        <a:defRPr sz="3200" b="0" i="0" kern="1200">
          <a:solidFill>
            <a:schemeClr val="tx1">
              <a:lumMod val="50000"/>
            </a:schemeClr>
          </a:solidFill>
          <a:latin typeface="+mn-lt"/>
          <a:ea typeface="Helvetica Neue Thin" panose="020B0403020202020204" pitchFamily="34" charset="0"/>
          <a:cs typeface="+mn-cs"/>
        </a:defRPr>
      </a:lvl1pPr>
      <a:lvl2pPr marL="160863" indent="-160863" algn="l" defTabSz="609585" rtl="0" eaLnBrk="1" latinLnBrk="0" hangingPunct="1">
        <a:lnSpc>
          <a:spcPct val="100000"/>
        </a:lnSpc>
        <a:spcBef>
          <a:spcPts val="400"/>
        </a:spcBef>
        <a:spcAft>
          <a:spcPts val="0"/>
        </a:spcAft>
        <a:buClr>
          <a:schemeClr val="accent1"/>
        </a:buClr>
        <a:buSzPct val="90000"/>
        <a:buFont typeface="Arial" panose="020B0604020202020204" pitchFamily="34" charset="0"/>
        <a:buChar char="•"/>
        <a:tabLst/>
        <a:defRPr sz="2667" b="0" i="0" kern="1200" baseline="0">
          <a:solidFill>
            <a:schemeClr val="tx1">
              <a:lumMod val="50000"/>
            </a:schemeClr>
          </a:solidFill>
          <a:latin typeface="+mn-lt"/>
          <a:ea typeface="Helvetica Neue Thin" panose="020B0403020202020204" pitchFamily="34" charset="0"/>
          <a:cs typeface="+mn-cs"/>
        </a:defRPr>
      </a:lvl2pPr>
      <a:lvl3pPr marL="459306" indent="-158492" algn="l" defTabSz="609585" rtl="0" eaLnBrk="1" latinLnBrk="0" hangingPunct="1">
        <a:lnSpc>
          <a:spcPct val="100000"/>
        </a:lnSpc>
        <a:spcBef>
          <a:spcPts val="400"/>
        </a:spcBef>
        <a:spcAft>
          <a:spcPts val="0"/>
        </a:spcAft>
        <a:buClr>
          <a:schemeClr val="accent1"/>
        </a:buClr>
        <a:buSzPct val="90000"/>
        <a:buFont typeface="System Font Regular"/>
        <a:buChar char="⁃"/>
        <a:tabLst/>
        <a:defRPr sz="2400" b="0" i="0" kern="1200">
          <a:solidFill>
            <a:schemeClr val="tx1">
              <a:lumMod val="50000"/>
            </a:schemeClr>
          </a:solidFill>
          <a:latin typeface="+mn-lt"/>
          <a:ea typeface="Helvetica Neue Thin" panose="020B0403020202020204" pitchFamily="34" charset="0"/>
          <a:cs typeface="+mn-cs"/>
        </a:defRPr>
      </a:lvl3pPr>
      <a:lvl4pPr marL="764098" indent="-158492" algn="l" defTabSz="609585" rtl="0" eaLnBrk="1" latinLnBrk="0" hangingPunct="1">
        <a:lnSpc>
          <a:spcPct val="100000"/>
        </a:lnSpc>
        <a:spcBef>
          <a:spcPts val="400"/>
        </a:spcBef>
        <a:spcAft>
          <a:spcPts val="0"/>
        </a:spcAft>
        <a:buClr>
          <a:schemeClr val="accent1"/>
        </a:buClr>
        <a:buSzPct val="100000"/>
        <a:buFont typeface="System Font Regular"/>
        <a:buChar char="◦"/>
        <a:tabLst/>
        <a:defRPr sz="2133" b="0" i="0" kern="1200">
          <a:solidFill>
            <a:schemeClr val="tx1">
              <a:lumMod val="50000"/>
            </a:schemeClr>
          </a:solidFill>
          <a:latin typeface="+mn-lt"/>
          <a:ea typeface="Helvetica Neue Thin" panose="020B0403020202020204" pitchFamily="34" charset="0"/>
          <a:cs typeface="+mn-cs"/>
        </a:defRPr>
      </a:lvl4pPr>
      <a:lvl5pPr marL="1066773" indent="-148163" algn="l" defTabSz="609585" rtl="0" eaLnBrk="1" latinLnBrk="0" hangingPunct="1">
        <a:lnSpc>
          <a:spcPct val="100000"/>
        </a:lnSpc>
        <a:spcBef>
          <a:spcPts val="400"/>
        </a:spcBef>
        <a:spcAft>
          <a:spcPts val="0"/>
        </a:spcAft>
        <a:buClr>
          <a:schemeClr val="accent1"/>
        </a:buClr>
        <a:buSzPct val="90000"/>
        <a:buFont typeface="System Font Regular"/>
        <a:buChar char="‣"/>
        <a:tabLst/>
        <a:defRPr sz="1867" b="0" i="0" kern="1200">
          <a:solidFill>
            <a:schemeClr val="tx1">
              <a:lumMod val="50000"/>
            </a:schemeClr>
          </a:solidFill>
          <a:latin typeface="+mn-lt"/>
          <a:ea typeface="Helvetica Neue Thin" panose="020B0403020202020204" pitchFamily="34" charset="0"/>
          <a:cs typeface="+mn-cs"/>
        </a:defRPr>
      </a:lvl5pPr>
      <a:lvl6pPr marL="1950671" indent="0" algn="l" defTabSz="609585" rtl="0" eaLnBrk="1" latinLnBrk="0" hangingPunct="1">
        <a:lnSpc>
          <a:spcPct val="140000"/>
        </a:lnSpc>
        <a:spcBef>
          <a:spcPts val="32"/>
        </a:spcBef>
        <a:buFont typeface="Arial" panose="020B0604020202020204" pitchFamily="34" charset="0"/>
        <a:buNone/>
        <a:defRPr sz="3733" kern="1200">
          <a:solidFill>
            <a:srgbClr val="7C878E"/>
          </a:solidFill>
          <a:latin typeface="+mn-lt"/>
          <a:ea typeface="+mn-ea"/>
          <a:cs typeface="+mn-cs"/>
        </a:defRPr>
      </a:lvl6pPr>
      <a:lvl7pPr marL="2316422" indent="0" algn="l" defTabSz="609585" rtl="0" eaLnBrk="1" latinLnBrk="0" hangingPunct="1">
        <a:lnSpc>
          <a:spcPct val="140000"/>
        </a:lnSpc>
        <a:spcBef>
          <a:spcPts val="32"/>
        </a:spcBef>
        <a:buFont typeface="Arial"/>
        <a:buNone/>
        <a:defRPr sz="3733" kern="1200" baseline="0">
          <a:solidFill>
            <a:srgbClr val="7C878E"/>
          </a:solidFill>
          <a:latin typeface="+mn-lt"/>
          <a:ea typeface="+mn-ea"/>
          <a:cs typeface="+mn-cs"/>
        </a:defRPr>
      </a:lvl7pPr>
      <a:lvl8pPr marL="2682173" indent="0" algn="l" defTabSz="609585" rtl="0" eaLnBrk="1" latinLnBrk="0" hangingPunct="1">
        <a:lnSpc>
          <a:spcPct val="140000"/>
        </a:lnSpc>
        <a:spcBef>
          <a:spcPts val="32"/>
        </a:spcBef>
        <a:buFont typeface="Arial"/>
        <a:buNone/>
        <a:defRPr sz="3733" kern="1200" baseline="0">
          <a:solidFill>
            <a:srgbClr val="7C878E"/>
          </a:solidFill>
          <a:latin typeface="+mn-lt"/>
          <a:ea typeface="+mn-ea"/>
          <a:cs typeface="+mn-cs"/>
        </a:defRPr>
      </a:lvl8pPr>
      <a:lvl9pPr marL="3047924" indent="0" algn="l" defTabSz="609585" rtl="0" eaLnBrk="1" latinLnBrk="0" hangingPunct="1">
        <a:lnSpc>
          <a:spcPct val="140000"/>
        </a:lnSpc>
        <a:spcBef>
          <a:spcPts val="32"/>
        </a:spcBef>
        <a:buFont typeface="Arial" panose="020B0604020202020204" pitchFamily="34" charset="0"/>
        <a:buNone/>
        <a:defRPr lang="en-US" sz="3733" kern="1200" baseline="0" dirty="0" smtClean="0">
          <a:solidFill>
            <a:srgbClr val="7C878E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93">
          <p15:clr>
            <a:srgbClr val="F26B43"/>
          </p15:clr>
        </p15:guide>
        <p15:guide id="2" pos="2880">
          <p15:clr>
            <a:srgbClr val="F26B43"/>
          </p15:clr>
        </p15:guide>
        <p15:guide id="3" pos="168">
          <p15:clr>
            <a:srgbClr val="F26B43"/>
          </p15:clr>
        </p15:guide>
        <p15:guide id="5" orient="horz" pos="3163">
          <p15:clr>
            <a:srgbClr val="F26B43"/>
          </p15:clr>
        </p15:guide>
        <p15:guide id="6" pos="5580">
          <p15:clr>
            <a:srgbClr val="F26B43"/>
          </p15:clr>
        </p15:guide>
        <p15:guide id="7" orient="horz" pos="425">
          <p15:clr>
            <a:srgbClr val="F26B43"/>
          </p15:clr>
        </p15:guide>
        <p15:guide id="8" orient="horz" pos="588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A picture containing grass, outdoor, water, sitting&#10;&#10;Description automatically generated">
            <a:extLst>
              <a:ext uri="{FF2B5EF4-FFF2-40B4-BE49-F238E27FC236}">
                <a16:creationId xmlns:a16="http://schemas.microsoft.com/office/drawing/2014/main" id="{9117407E-E03D-7F42-9AF9-9E651C326095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42"/>
          <a:stretch/>
        </p:blipFill>
        <p:spPr>
          <a:xfrm>
            <a:off x="-1" y="6267979"/>
            <a:ext cx="12191999" cy="590021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83396" y="204645"/>
            <a:ext cx="11414904" cy="684355"/>
          </a:xfrm>
          <a:prstGeom prst="rect">
            <a:avLst/>
          </a:prstGeom>
        </p:spPr>
        <p:txBody>
          <a:bodyPr vert="horz" lIns="91440" tIns="45720" rIns="0" bIns="45720" rtlCol="0" anchor="t">
            <a:noAutofit/>
          </a:bodyPr>
          <a:lstStyle/>
          <a:p>
            <a:r>
              <a:rPr lang="en-US"/>
              <a:t>Click to Add Title</a:t>
            </a:r>
            <a:endParaRPr lang="en-US" noProof="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832E0ADB-35FD-7B46-A214-BC52654E7EC1}"/>
              </a:ext>
            </a:extLst>
          </p:cNvPr>
          <p:cNvSpPr/>
          <p:nvPr/>
        </p:nvSpPr>
        <p:spPr>
          <a:xfrm>
            <a:off x="5159688" y="6488347"/>
            <a:ext cx="1872629" cy="256545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marL="0" algn="ctr" defTabSz="609585" rtl="0" eaLnBrk="1" latinLnBrk="0" hangingPunct="1"/>
            <a:r>
              <a:rPr lang="en-US" sz="1067">
                <a:solidFill>
                  <a:schemeClr val="bg1"/>
                </a:solidFill>
              </a:rPr>
              <a:t>Confidential and Proprietary</a:t>
            </a:r>
          </a:p>
        </p:txBody>
      </p:sp>
      <p:sp>
        <p:nvSpPr>
          <p:cNvPr id="10" name="Slide Number Placeholder 2">
            <a:extLst>
              <a:ext uri="{FF2B5EF4-FFF2-40B4-BE49-F238E27FC236}">
                <a16:creationId xmlns:a16="http://schemas.microsoft.com/office/drawing/2014/main" id="{82D3820C-9DF6-384C-B100-D6596760664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bg1"/>
                </a:solidFill>
              </a:defRPr>
            </a:lvl1pPr>
          </a:lstStyle>
          <a:p>
            <a:fld id="{AD6BAA4E-5F47-E640-8B90-67FB6D90528D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C0984A0A-FF64-C44E-8A68-931060F8BD4C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lum bright="10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7807" y="6350767"/>
            <a:ext cx="2413101" cy="434259"/>
          </a:xfrm>
          <a:prstGeom prst="rect">
            <a:avLst/>
          </a:prstGeom>
        </p:spPr>
      </p:pic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590C657C-DD50-0647-A9EA-EA2C251FAB9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83394" y="1230694"/>
            <a:ext cx="11425209" cy="4645173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endParaRPr lang="en-US"/>
          </a:p>
        </p:txBody>
      </p:sp>
      <p:grpSp>
        <p:nvGrpSpPr>
          <p:cNvPr id="24" name="Group 23">
            <a:extLst>
              <a:ext uri="{FF2B5EF4-FFF2-40B4-BE49-F238E27FC236}">
                <a16:creationId xmlns:a16="http://schemas.microsoft.com/office/drawing/2014/main" id="{CAA597BC-6DC9-DE48-84DD-A1B78C39F7D1}"/>
              </a:ext>
            </a:extLst>
          </p:cNvPr>
          <p:cNvGrpSpPr/>
          <p:nvPr/>
        </p:nvGrpSpPr>
        <p:grpSpPr>
          <a:xfrm>
            <a:off x="10672234" y="6392334"/>
            <a:ext cx="1150623" cy="385495"/>
            <a:chOff x="8004175" y="4794250"/>
            <a:chExt cx="862967" cy="289121"/>
          </a:xfrm>
        </p:grpSpPr>
        <p:pic>
          <p:nvPicPr>
            <p:cNvPr id="25" name="Picture 24" descr="A close up of a sign&#10;&#10;Description automatically generated">
              <a:extLst>
                <a:ext uri="{FF2B5EF4-FFF2-40B4-BE49-F238E27FC236}">
                  <a16:creationId xmlns:a16="http://schemas.microsoft.com/office/drawing/2014/main" id="{3D61CCC1-757B-4545-9DB2-15862F0B241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>
              <a:extLst>
                <a:ext uri="{BEBA8EAE-BF5A-486C-A8C5-ECC9F3942E4B}">
                  <a14:imgProps xmlns:a14="http://schemas.microsoft.com/office/drawing/2010/main">
                    <a14:imgLayer r:embed="rId9">
                      <a14:imgEffect>
                        <a14:brightnessContrast bright="100000"/>
                      </a14:imgEffect>
                    </a14:imgLayer>
                  </a14:imgProps>
                </a:ext>
              </a:extLst>
            </a:blip>
            <a:srcRect l="21996"/>
            <a:stretch/>
          </p:blipFill>
          <p:spPr>
            <a:xfrm>
              <a:off x="8191500" y="4794250"/>
              <a:ext cx="675642" cy="289121"/>
            </a:xfrm>
            <a:prstGeom prst="rect">
              <a:avLst/>
            </a:prstGeom>
          </p:spPr>
        </p:pic>
        <p:pic>
          <p:nvPicPr>
            <p:cNvPr id="26" name="Picture 25" descr="A close up of a sign&#10;&#10;Description automatically generated">
              <a:extLst>
                <a:ext uri="{FF2B5EF4-FFF2-40B4-BE49-F238E27FC236}">
                  <a16:creationId xmlns:a16="http://schemas.microsoft.com/office/drawing/2014/main" id="{91607BA9-7A74-3F4E-8B06-EFFE068D796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0"/>
            <a:srcRect l="369" r="78004"/>
            <a:stretch/>
          </p:blipFill>
          <p:spPr>
            <a:xfrm>
              <a:off x="8004175" y="4794250"/>
              <a:ext cx="187325" cy="28912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9331515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9" r:id="rId1"/>
    <p:sldLayoutId id="2147483710" r:id="rId2"/>
    <p:sldLayoutId id="2147483711" r:id="rId3"/>
    <p:sldLayoutId id="2147483712" r:id="rId4"/>
  </p:sldLayoutIdLst>
  <p:transition>
    <p:fade/>
  </p:transition>
  <p:hf hdr="0" ftr="0" dt="0"/>
  <p:txStyles>
    <p:titleStyle>
      <a:lvl1pPr algn="l" defTabSz="609585" rtl="0" eaLnBrk="1" latinLnBrk="0" hangingPunct="1">
        <a:lnSpc>
          <a:spcPct val="85000"/>
        </a:lnSpc>
        <a:spcBef>
          <a:spcPts val="0"/>
        </a:spcBef>
        <a:spcAft>
          <a:spcPts val="0"/>
        </a:spcAft>
        <a:buNone/>
        <a:defRPr sz="3733" b="1" i="0" kern="1200">
          <a:solidFill>
            <a:schemeClr val="accent1"/>
          </a:solidFill>
          <a:latin typeface="+mj-lt"/>
          <a:ea typeface="Helvetica Neue" panose="02000503000000020004" pitchFamily="2" charset="0"/>
          <a:cs typeface="Helvetica Neue" panose="02000503000000020004" pitchFamily="2" charset="0"/>
        </a:defRPr>
      </a:lvl1pPr>
    </p:titleStyle>
    <p:bodyStyle>
      <a:lvl1pPr marL="0" indent="0" algn="l" defTabSz="609585" rtl="0" eaLnBrk="1" latinLnBrk="0" hangingPunct="1">
        <a:lnSpc>
          <a:spcPct val="100000"/>
        </a:lnSpc>
        <a:spcBef>
          <a:spcPts val="800"/>
        </a:spcBef>
        <a:spcAft>
          <a:spcPts val="0"/>
        </a:spcAft>
        <a:buFontTx/>
        <a:buNone/>
        <a:defRPr sz="2400" b="0" i="0" kern="1200">
          <a:solidFill>
            <a:schemeClr val="tx1"/>
          </a:solidFill>
          <a:latin typeface="+mn-lt"/>
          <a:ea typeface="Helvetica Neue Thin" panose="020B0403020202020204" pitchFamily="34" charset="0"/>
          <a:cs typeface="+mn-cs"/>
        </a:defRPr>
      </a:lvl1pPr>
      <a:lvl2pPr marL="160863" indent="-160863" algn="l" defTabSz="609585" rtl="0" eaLnBrk="1" latinLnBrk="0" hangingPunct="1">
        <a:lnSpc>
          <a:spcPct val="95000"/>
        </a:lnSpc>
        <a:spcBef>
          <a:spcPts val="400"/>
        </a:spcBef>
        <a:spcAft>
          <a:spcPts val="0"/>
        </a:spcAft>
        <a:buClr>
          <a:schemeClr val="accent1"/>
        </a:buClr>
        <a:buFont typeface="Arial" panose="020B0604020202020204" pitchFamily="34" charset="0"/>
        <a:buChar char="•"/>
        <a:tabLst/>
        <a:defRPr sz="2400" b="0" i="0" kern="1200" baseline="0">
          <a:solidFill>
            <a:schemeClr val="tx1">
              <a:lumMod val="50000"/>
            </a:schemeClr>
          </a:solidFill>
          <a:latin typeface="+mn-lt"/>
          <a:ea typeface="Helvetica Neue Thin" panose="020B0403020202020204" pitchFamily="34" charset="0"/>
          <a:cs typeface="+mn-cs"/>
        </a:defRPr>
      </a:lvl2pPr>
      <a:lvl3pPr marL="459306" indent="-148163" algn="l" defTabSz="609585" rtl="0" eaLnBrk="1" latinLnBrk="0" hangingPunct="1">
        <a:lnSpc>
          <a:spcPct val="95000"/>
        </a:lnSpc>
        <a:spcBef>
          <a:spcPts val="400"/>
        </a:spcBef>
        <a:spcAft>
          <a:spcPts val="0"/>
        </a:spcAft>
        <a:buClr>
          <a:schemeClr val="accent1"/>
        </a:buClr>
        <a:buFont typeface="Arial" panose="020B0604020202020204" pitchFamily="34" charset="0"/>
        <a:buChar char="•"/>
        <a:tabLst/>
        <a:defRPr sz="2400" b="0" i="0" kern="1200">
          <a:solidFill>
            <a:schemeClr val="tx1">
              <a:lumMod val="50000"/>
            </a:schemeClr>
          </a:solidFill>
          <a:latin typeface="+mn-lt"/>
          <a:ea typeface="Helvetica Neue Thin" panose="020B0403020202020204" pitchFamily="34" charset="0"/>
          <a:cs typeface="+mn-cs"/>
        </a:defRPr>
      </a:lvl3pPr>
      <a:lvl4pPr marL="764098" indent="-148163" algn="l" defTabSz="609585" rtl="0" eaLnBrk="1" latinLnBrk="0" hangingPunct="1">
        <a:lnSpc>
          <a:spcPct val="95000"/>
        </a:lnSpc>
        <a:spcBef>
          <a:spcPts val="400"/>
        </a:spcBef>
        <a:spcAft>
          <a:spcPts val="0"/>
        </a:spcAft>
        <a:buClr>
          <a:schemeClr val="accent1"/>
        </a:buClr>
        <a:buFont typeface="Arial" panose="020B0604020202020204" pitchFamily="34" charset="0"/>
        <a:buChar char="•"/>
        <a:tabLst/>
        <a:defRPr sz="2400" b="0" i="0" kern="1200">
          <a:solidFill>
            <a:schemeClr val="tx1">
              <a:lumMod val="50000"/>
            </a:schemeClr>
          </a:solidFill>
          <a:latin typeface="+mn-lt"/>
          <a:ea typeface="Helvetica Neue Thin" panose="020B0403020202020204" pitchFamily="34" charset="0"/>
          <a:cs typeface="+mn-cs"/>
        </a:defRPr>
      </a:lvl4pPr>
      <a:lvl5pPr marL="1066773" indent="-148163" algn="l" defTabSz="609585" rtl="0" eaLnBrk="1" latinLnBrk="0" hangingPunct="1">
        <a:lnSpc>
          <a:spcPct val="95000"/>
        </a:lnSpc>
        <a:spcBef>
          <a:spcPts val="400"/>
        </a:spcBef>
        <a:spcAft>
          <a:spcPts val="0"/>
        </a:spcAft>
        <a:buClr>
          <a:schemeClr val="accent1"/>
        </a:buClr>
        <a:buFont typeface="Arial" panose="020B0604020202020204" pitchFamily="34" charset="0"/>
        <a:buChar char="•"/>
        <a:tabLst/>
        <a:defRPr sz="2400" b="0" i="0" kern="1200">
          <a:solidFill>
            <a:schemeClr val="tx1">
              <a:lumMod val="50000"/>
            </a:schemeClr>
          </a:solidFill>
          <a:latin typeface="+mn-lt"/>
          <a:ea typeface="Helvetica Neue Thin" panose="020B0403020202020204" pitchFamily="34" charset="0"/>
          <a:cs typeface="+mn-cs"/>
        </a:defRPr>
      </a:lvl5pPr>
      <a:lvl6pPr marL="1950671" indent="0" algn="l" defTabSz="609585" rtl="0" eaLnBrk="1" latinLnBrk="0" hangingPunct="1">
        <a:lnSpc>
          <a:spcPct val="140000"/>
        </a:lnSpc>
        <a:spcBef>
          <a:spcPts val="32"/>
        </a:spcBef>
        <a:buFont typeface="Arial" panose="020B0604020202020204" pitchFamily="34" charset="0"/>
        <a:buNone/>
        <a:defRPr sz="3733" kern="1200">
          <a:solidFill>
            <a:srgbClr val="7C878E"/>
          </a:solidFill>
          <a:latin typeface="+mn-lt"/>
          <a:ea typeface="+mn-ea"/>
          <a:cs typeface="+mn-cs"/>
        </a:defRPr>
      </a:lvl6pPr>
      <a:lvl7pPr marL="2316422" indent="0" algn="l" defTabSz="609585" rtl="0" eaLnBrk="1" latinLnBrk="0" hangingPunct="1">
        <a:lnSpc>
          <a:spcPct val="140000"/>
        </a:lnSpc>
        <a:spcBef>
          <a:spcPts val="32"/>
        </a:spcBef>
        <a:buFont typeface="Arial"/>
        <a:buNone/>
        <a:defRPr sz="3733" kern="1200" baseline="0">
          <a:solidFill>
            <a:srgbClr val="7C878E"/>
          </a:solidFill>
          <a:latin typeface="+mn-lt"/>
          <a:ea typeface="+mn-ea"/>
          <a:cs typeface="+mn-cs"/>
        </a:defRPr>
      </a:lvl7pPr>
      <a:lvl8pPr marL="2682173" indent="0" algn="l" defTabSz="609585" rtl="0" eaLnBrk="1" latinLnBrk="0" hangingPunct="1">
        <a:lnSpc>
          <a:spcPct val="140000"/>
        </a:lnSpc>
        <a:spcBef>
          <a:spcPts val="32"/>
        </a:spcBef>
        <a:buFont typeface="Arial"/>
        <a:buNone/>
        <a:defRPr sz="3733" kern="1200" baseline="0">
          <a:solidFill>
            <a:srgbClr val="7C878E"/>
          </a:solidFill>
          <a:latin typeface="+mn-lt"/>
          <a:ea typeface="+mn-ea"/>
          <a:cs typeface="+mn-cs"/>
        </a:defRPr>
      </a:lvl8pPr>
      <a:lvl9pPr marL="3047924" indent="0" algn="l" defTabSz="609585" rtl="0" eaLnBrk="1" latinLnBrk="0" hangingPunct="1">
        <a:lnSpc>
          <a:spcPct val="140000"/>
        </a:lnSpc>
        <a:spcBef>
          <a:spcPts val="32"/>
        </a:spcBef>
        <a:buFont typeface="Arial" panose="020B0604020202020204" pitchFamily="34" charset="0"/>
        <a:buNone/>
        <a:defRPr lang="en-US" sz="3733" kern="1200" baseline="0" dirty="0" smtClean="0">
          <a:solidFill>
            <a:srgbClr val="7C878E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77">
          <p15:clr>
            <a:srgbClr val="F26B43"/>
          </p15:clr>
        </p15:guide>
        <p15:guide id="2" pos="2880">
          <p15:clr>
            <a:srgbClr val="F26B43"/>
          </p15:clr>
        </p15:guide>
        <p15:guide id="3" pos="240">
          <p15:clr>
            <a:srgbClr val="F26B43"/>
          </p15:clr>
        </p15:guide>
        <p15:guide id="4" orient="horz" pos="630">
          <p15:clr>
            <a:srgbClr val="F26B43"/>
          </p15:clr>
        </p15:guide>
        <p15:guide id="6" pos="5580">
          <p15:clr>
            <a:srgbClr val="F26B43"/>
          </p15:clr>
        </p15:guide>
        <p15:guide id="7" orient="horz" pos="336">
          <p15:clr>
            <a:srgbClr val="F26B43"/>
          </p15:clr>
        </p15:guide>
        <p15:guide id="8" orient="horz" pos="3151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39CD40CC-A845-3F4A-BE42-3BC45E77D4A4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6267981"/>
            <a:ext cx="12192001" cy="590020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91407E87-48A2-4741-BE05-4B7220DB8FF0}"/>
              </a:ext>
            </a:extLst>
          </p:cNvPr>
          <p:cNvSpPr/>
          <p:nvPr/>
        </p:nvSpPr>
        <p:spPr>
          <a:xfrm>
            <a:off x="5159688" y="6488347"/>
            <a:ext cx="1872629" cy="256545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marL="0" algn="ctr" defTabSz="609585" rtl="0" eaLnBrk="1" latinLnBrk="0" hangingPunct="1"/>
            <a:r>
              <a:rPr lang="en-US" sz="1067">
                <a:solidFill>
                  <a:schemeClr val="bg1"/>
                </a:solidFill>
              </a:rPr>
              <a:t>Confidential and Proprietary</a:t>
            </a:r>
          </a:p>
        </p:txBody>
      </p:sp>
      <p:sp>
        <p:nvSpPr>
          <p:cNvPr id="10" name="Slide Number Placeholder 2">
            <a:extLst>
              <a:ext uri="{FF2B5EF4-FFF2-40B4-BE49-F238E27FC236}">
                <a16:creationId xmlns:a16="http://schemas.microsoft.com/office/drawing/2014/main" id="{31DF4C4D-BF3C-764A-9A36-0AB2BB01C2A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bg1"/>
                </a:solidFill>
              </a:defRPr>
            </a:lvl1pPr>
          </a:lstStyle>
          <a:p>
            <a:fld id="{AD6BAA4E-5F47-E640-8B90-67FB6D90528D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AE03D4E6-424B-9644-9165-8985D24A76FE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lum bright="10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7807" y="6350767"/>
            <a:ext cx="2413101" cy="434259"/>
          </a:xfrm>
          <a:prstGeom prst="rect">
            <a:avLst/>
          </a:prstGeom>
        </p:spPr>
      </p:pic>
      <p:sp>
        <p:nvSpPr>
          <p:cNvPr id="15" name="Title Placeholder 1">
            <a:extLst>
              <a:ext uri="{FF2B5EF4-FFF2-40B4-BE49-F238E27FC236}">
                <a16:creationId xmlns:a16="http://schemas.microsoft.com/office/drawing/2014/main" id="{CD5CCC59-47A2-4347-8B1C-1FAF05AE465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3396" y="204645"/>
            <a:ext cx="11425211" cy="684355"/>
          </a:xfrm>
          <a:prstGeom prst="rect">
            <a:avLst/>
          </a:prstGeom>
        </p:spPr>
        <p:txBody>
          <a:bodyPr vert="horz" lIns="91440" tIns="45720" rIns="0" bIns="45720" rtlCol="0" anchor="t">
            <a:noAutofit/>
          </a:bodyPr>
          <a:lstStyle/>
          <a:p>
            <a:r>
              <a:rPr lang="en-US" noProof="0"/>
              <a:t>Click to Add Title</a:t>
            </a:r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3BAF46A5-C3E5-9041-910E-D93765F39C6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83394" y="1230694"/>
            <a:ext cx="11425209" cy="4645173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endParaRPr lang="en-US"/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C0DD9D6A-CB4A-3645-A68F-D742A2AECBA2}"/>
              </a:ext>
            </a:extLst>
          </p:cNvPr>
          <p:cNvGrpSpPr/>
          <p:nvPr/>
        </p:nvGrpSpPr>
        <p:grpSpPr>
          <a:xfrm>
            <a:off x="10672234" y="6392334"/>
            <a:ext cx="1150623" cy="385495"/>
            <a:chOff x="8004175" y="4794250"/>
            <a:chExt cx="862967" cy="289121"/>
          </a:xfrm>
        </p:grpSpPr>
        <p:pic>
          <p:nvPicPr>
            <p:cNvPr id="22" name="Picture 21" descr="A close up of a sign&#10;&#10;Description automatically generated">
              <a:extLst>
                <a:ext uri="{FF2B5EF4-FFF2-40B4-BE49-F238E27FC236}">
                  <a16:creationId xmlns:a16="http://schemas.microsoft.com/office/drawing/2014/main" id="{4F6CDEF9-400F-F44D-903E-89A278FF452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>
              <a:extLst>
                <a:ext uri="{BEBA8EAE-BF5A-486C-A8C5-ECC9F3942E4B}">
                  <a14:imgProps xmlns:a14="http://schemas.microsoft.com/office/drawing/2010/main">
                    <a14:imgLayer r:embed="rId9">
                      <a14:imgEffect>
                        <a14:brightnessContrast bright="100000"/>
                      </a14:imgEffect>
                    </a14:imgLayer>
                  </a14:imgProps>
                </a:ext>
              </a:extLst>
            </a:blip>
            <a:srcRect l="21996"/>
            <a:stretch/>
          </p:blipFill>
          <p:spPr>
            <a:xfrm>
              <a:off x="8191500" y="4794250"/>
              <a:ext cx="675642" cy="289121"/>
            </a:xfrm>
            <a:prstGeom prst="rect">
              <a:avLst/>
            </a:prstGeom>
          </p:spPr>
        </p:pic>
        <p:pic>
          <p:nvPicPr>
            <p:cNvPr id="23" name="Picture 22" descr="A close up of a sign&#10;&#10;Description automatically generated">
              <a:extLst>
                <a:ext uri="{FF2B5EF4-FFF2-40B4-BE49-F238E27FC236}">
                  <a16:creationId xmlns:a16="http://schemas.microsoft.com/office/drawing/2014/main" id="{D1867901-FAC4-4B4F-841D-250274CD9FB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0"/>
            <a:srcRect l="369" r="78004"/>
            <a:stretch/>
          </p:blipFill>
          <p:spPr>
            <a:xfrm>
              <a:off x="8004175" y="4794250"/>
              <a:ext cx="187325" cy="28912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4952233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4" r:id="rId1"/>
    <p:sldLayoutId id="2147483715" r:id="rId2"/>
    <p:sldLayoutId id="2147483716" r:id="rId3"/>
    <p:sldLayoutId id="2147483717" r:id="rId4"/>
  </p:sldLayoutIdLst>
  <p:transition>
    <p:fade/>
  </p:transition>
  <p:hf hdr="0" ftr="0" dt="0"/>
  <p:txStyles>
    <p:titleStyle>
      <a:lvl1pPr algn="l" defTabSz="609585" rtl="0" eaLnBrk="1" latinLnBrk="0" hangingPunct="1">
        <a:lnSpc>
          <a:spcPct val="85000"/>
        </a:lnSpc>
        <a:spcBef>
          <a:spcPts val="0"/>
        </a:spcBef>
        <a:spcAft>
          <a:spcPts val="0"/>
        </a:spcAft>
        <a:buNone/>
        <a:defRPr sz="3733" b="1" i="0" kern="1200">
          <a:solidFill>
            <a:schemeClr val="accent1"/>
          </a:solidFill>
          <a:latin typeface="+mj-lt"/>
          <a:ea typeface="Helvetica Neue" panose="02000503000000020004" pitchFamily="2" charset="0"/>
          <a:cs typeface="Helvetica Neue" panose="02000503000000020004" pitchFamily="2" charset="0"/>
        </a:defRPr>
      </a:lvl1pPr>
    </p:titleStyle>
    <p:bodyStyle>
      <a:lvl1pPr marL="0" indent="0" algn="l" defTabSz="609585" rtl="0" eaLnBrk="1" latinLnBrk="0" hangingPunct="1">
        <a:lnSpc>
          <a:spcPct val="100000"/>
        </a:lnSpc>
        <a:spcBef>
          <a:spcPts val="800"/>
        </a:spcBef>
        <a:spcAft>
          <a:spcPts val="0"/>
        </a:spcAft>
        <a:buFontTx/>
        <a:buNone/>
        <a:defRPr sz="2667" b="0" i="0" kern="1200">
          <a:solidFill>
            <a:schemeClr val="tx1"/>
          </a:solidFill>
          <a:latin typeface="+mj-lt"/>
          <a:ea typeface="Helvetica Neue Thin" panose="020B0403020202020204" pitchFamily="34" charset="0"/>
          <a:cs typeface="+mn-cs"/>
        </a:defRPr>
      </a:lvl1pPr>
      <a:lvl2pPr marL="160863" indent="-160863" algn="l" defTabSz="609585" rtl="0" eaLnBrk="1" latinLnBrk="0" hangingPunct="1">
        <a:lnSpc>
          <a:spcPct val="95000"/>
        </a:lnSpc>
        <a:spcBef>
          <a:spcPts val="400"/>
        </a:spcBef>
        <a:spcAft>
          <a:spcPts val="0"/>
        </a:spcAft>
        <a:buClr>
          <a:schemeClr val="accent1"/>
        </a:buClr>
        <a:buFont typeface="Arial" panose="020B0604020202020204" pitchFamily="34" charset="0"/>
        <a:buChar char="•"/>
        <a:tabLst/>
        <a:defRPr sz="2400" b="0" i="0" kern="1200" baseline="0">
          <a:solidFill>
            <a:schemeClr val="tx1">
              <a:lumMod val="50000"/>
            </a:schemeClr>
          </a:solidFill>
          <a:latin typeface="+mj-lt"/>
          <a:ea typeface="Helvetica Neue Thin" panose="020B0403020202020204" pitchFamily="34" charset="0"/>
          <a:cs typeface="+mn-cs"/>
        </a:defRPr>
      </a:lvl2pPr>
      <a:lvl3pPr marL="459306" indent="-148163" algn="l" defTabSz="609585" rtl="0" eaLnBrk="1" latinLnBrk="0" hangingPunct="1">
        <a:lnSpc>
          <a:spcPct val="95000"/>
        </a:lnSpc>
        <a:spcBef>
          <a:spcPts val="400"/>
        </a:spcBef>
        <a:spcAft>
          <a:spcPts val="0"/>
        </a:spcAft>
        <a:buClr>
          <a:schemeClr val="accent1"/>
        </a:buClr>
        <a:buFont typeface="Arial" panose="020B0604020202020204" pitchFamily="34" charset="0"/>
        <a:buChar char="•"/>
        <a:tabLst/>
        <a:defRPr sz="2133" b="0" i="0" kern="1200">
          <a:solidFill>
            <a:schemeClr val="tx1">
              <a:lumMod val="50000"/>
            </a:schemeClr>
          </a:solidFill>
          <a:latin typeface="+mj-lt"/>
          <a:ea typeface="Helvetica Neue Thin" panose="020B0403020202020204" pitchFamily="34" charset="0"/>
          <a:cs typeface="+mn-cs"/>
        </a:defRPr>
      </a:lvl3pPr>
      <a:lvl4pPr marL="764098" indent="-148163" algn="l" defTabSz="609585" rtl="0" eaLnBrk="1" latinLnBrk="0" hangingPunct="1">
        <a:lnSpc>
          <a:spcPct val="95000"/>
        </a:lnSpc>
        <a:spcBef>
          <a:spcPts val="400"/>
        </a:spcBef>
        <a:spcAft>
          <a:spcPts val="0"/>
        </a:spcAft>
        <a:buClr>
          <a:schemeClr val="accent1"/>
        </a:buClr>
        <a:buFont typeface="Arial" panose="020B0604020202020204" pitchFamily="34" charset="0"/>
        <a:buChar char="•"/>
        <a:tabLst/>
        <a:defRPr sz="1867" b="0" i="0" kern="1200">
          <a:solidFill>
            <a:schemeClr val="tx1">
              <a:lumMod val="65000"/>
              <a:lumOff val="35000"/>
            </a:schemeClr>
          </a:solidFill>
          <a:latin typeface="Century Gothic" panose="020B0502020202020204" pitchFamily="34" charset="0"/>
          <a:ea typeface="Helvetica Neue Thin" panose="020B0403020202020204" pitchFamily="34" charset="0"/>
          <a:cs typeface="+mn-cs"/>
        </a:defRPr>
      </a:lvl4pPr>
      <a:lvl5pPr marL="1066773" indent="-148163" algn="l" defTabSz="609585" rtl="0" eaLnBrk="1" latinLnBrk="0" hangingPunct="1">
        <a:lnSpc>
          <a:spcPct val="95000"/>
        </a:lnSpc>
        <a:spcBef>
          <a:spcPts val="400"/>
        </a:spcBef>
        <a:spcAft>
          <a:spcPts val="0"/>
        </a:spcAft>
        <a:buClr>
          <a:schemeClr val="accent1"/>
        </a:buClr>
        <a:buFont typeface="Arial" panose="020B0604020202020204" pitchFamily="34" charset="0"/>
        <a:buChar char="•"/>
        <a:tabLst/>
        <a:defRPr sz="1467" b="0" i="0" kern="1200">
          <a:solidFill>
            <a:schemeClr val="tx1">
              <a:lumMod val="65000"/>
              <a:lumOff val="35000"/>
            </a:schemeClr>
          </a:solidFill>
          <a:latin typeface="Century Gothic" panose="020B0502020202020204" pitchFamily="34" charset="0"/>
          <a:ea typeface="Helvetica Neue Thin" panose="020B0403020202020204" pitchFamily="34" charset="0"/>
          <a:cs typeface="+mn-cs"/>
        </a:defRPr>
      </a:lvl5pPr>
      <a:lvl6pPr marL="1950671" indent="0" algn="l" defTabSz="609585" rtl="0" eaLnBrk="1" latinLnBrk="0" hangingPunct="1">
        <a:lnSpc>
          <a:spcPct val="140000"/>
        </a:lnSpc>
        <a:spcBef>
          <a:spcPts val="32"/>
        </a:spcBef>
        <a:buFont typeface="Arial" panose="020B0604020202020204" pitchFamily="34" charset="0"/>
        <a:buNone/>
        <a:defRPr sz="3733" kern="1200">
          <a:solidFill>
            <a:srgbClr val="7C878E"/>
          </a:solidFill>
          <a:latin typeface="+mn-lt"/>
          <a:ea typeface="+mn-ea"/>
          <a:cs typeface="+mn-cs"/>
        </a:defRPr>
      </a:lvl6pPr>
      <a:lvl7pPr marL="2316422" indent="0" algn="l" defTabSz="609585" rtl="0" eaLnBrk="1" latinLnBrk="0" hangingPunct="1">
        <a:lnSpc>
          <a:spcPct val="140000"/>
        </a:lnSpc>
        <a:spcBef>
          <a:spcPts val="32"/>
        </a:spcBef>
        <a:buFont typeface="Arial"/>
        <a:buNone/>
        <a:defRPr sz="3733" kern="1200" baseline="0">
          <a:solidFill>
            <a:srgbClr val="7C878E"/>
          </a:solidFill>
          <a:latin typeface="+mn-lt"/>
          <a:ea typeface="+mn-ea"/>
          <a:cs typeface="+mn-cs"/>
        </a:defRPr>
      </a:lvl7pPr>
      <a:lvl8pPr marL="2682173" indent="0" algn="l" defTabSz="609585" rtl="0" eaLnBrk="1" latinLnBrk="0" hangingPunct="1">
        <a:lnSpc>
          <a:spcPct val="140000"/>
        </a:lnSpc>
        <a:spcBef>
          <a:spcPts val="32"/>
        </a:spcBef>
        <a:buFont typeface="Arial"/>
        <a:buNone/>
        <a:defRPr sz="3733" kern="1200" baseline="0">
          <a:solidFill>
            <a:srgbClr val="7C878E"/>
          </a:solidFill>
          <a:latin typeface="+mn-lt"/>
          <a:ea typeface="+mn-ea"/>
          <a:cs typeface="+mn-cs"/>
        </a:defRPr>
      </a:lvl8pPr>
      <a:lvl9pPr marL="3047924" indent="0" algn="l" defTabSz="609585" rtl="0" eaLnBrk="1" latinLnBrk="0" hangingPunct="1">
        <a:lnSpc>
          <a:spcPct val="140000"/>
        </a:lnSpc>
        <a:spcBef>
          <a:spcPts val="32"/>
        </a:spcBef>
        <a:buFont typeface="Arial" panose="020B0604020202020204" pitchFamily="34" charset="0"/>
        <a:buNone/>
        <a:defRPr lang="en-US" sz="3733" kern="1200" baseline="0" dirty="0" smtClean="0">
          <a:solidFill>
            <a:srgbClr val="7C878E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77">
          <p15:clr>
            <a:srgbClr val="F26B43"/>
          </p15:clr>
        </p15:guide>
        <p15:guide id="2" pos="2880">
          <p15:clr>
            <a:srgbClr val="F26B43"/>
          </p15:clr>
        </p15:guide>
        <p15:guide id="3" pos="240">
          <p15:clr>
            <a:srgbClr val="F26B43"/>
          </p15:clr>
        </p15:guide>
        <p15:guide id="4" orient="horz" pos="630">
          <p15:clr>
            <a:srgbClr val="F26B43"/>
          </p15:clr>
        </p15:guide>
        <p15:guide id="6" pos="5580">
          <p15:clr>
            <a:srgbClr val="F26B43"/>
          </p15:clr>
        </p15:guide>
        <p15:guide id="7" orient="horz" pos="336">
          <p15:clr>
            <a:srgbClr val="F26B43"/>
          </p15:clr>
        </p15:guide>
        <p15:guide id="8" orient="horz" pos="3151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A picture containing large, door, covered, standing&#10;&#10;Description automatically generated">
            <a:extLst>
              <a:ext uri="{FF2B5EF4-FFF2-40B4-BE49-F238E27FC236}">
                <a16:creationId xmlns:a16="http://schemas.microsoft.com/office/drawing/2014/main" id="{3F8E0A54-00FA-474D-8B63-5A0C5983B44B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6259674"/>
            <a:ext cx="12191997" cy="598327"/>
          </a:xfrm>
          <a:prstGeom prst="rect">
            <a:avLst/>
          </a:prstGeom>
        </p:spPr>
      </p:pic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3BB8313-9F52-0745-B4E7-EA288064194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83395" y="5926369"/>
            <a:ext cx="11425211" cy="30613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933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83396" y="204645"/>
            <a:ext cx="11414904" cy="684355"/>
          </a:xfrm>
          <a:prstGeom prst="rect">
            <a:avLst/>
          </a:prstGeom>
        </p:spPr>
        <p:txBody>
          <a:bodyPr vert="horz" lIns="91440" tIns="45720" rIns="0" bIns="45720" rtlCol="0" anchor="t">
            <a:noAutofit/>
          </a:bodyPr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14" name="Text Placeholder 3"/>
          <p:cNvSpPr>
            <a:spLocks noGrp="1"/>
          </p:cNvSpPr>
          <p:nvPr>
            <p:ph type="body" idx="1"/>
          </p:nvPr>
        </p:nvSpPr>
        <p:spPr>
          <a:xfrm>
            <a:off x="383395" y="1342769"/>
            <a:ext cx="11425211" cy="4546199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0C5ECDCD-249A-BF45-8354-8498C1C971E8}"/>
              </a:ext>
            </a:extLst>
          </p:cNvPr>
          <p:cNvSpPr/>
          <p:nvPr/>
        </p:nvSpPr>
        <p:spPr>
          <a:xfrm>
            <a:off x="5159688" y="6488347"/>
            <a:ext cx="1872629" cy="256545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marL="0" algn="ctr" defTabSz="609585" rtl="0" eaLnBrk="1" latinLnBrk="0" hangingPunct="1"/>
            <a:r>
              <a:rPr lang="en-US" sz="1067">
                <a:solidFill>
                  <a:schemeClr val="bg1"/>
                </a:solidFill>
              </a:rPr>
              <a:t>Confidential and Proprietary</a:t>
            </a:r>
          </a:p>
        </p:txBody>
      </p:sp>
      <p:sp>
        <p:nvSpPr>
          <p:cNvPr id="10" name="Slide Number Placeholder 2">
            <a:extLst>
              <a:ext uri="{FF2B5EF4-FFF2-40B4-BE49-F238E27FC236}">
                <a16:creationId xmlns:a16="http://schemas.microsoft.com/office/drawing/2014/main" id="{35CFD7D5-0110-9747-BC20-D2233D783B8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bg1"/>
                </a:solidFill>
              </a:defRPr>
            </a:lvl1pPr>
          </a:lstStyle>
          <a:p>
            <a:fld id="{AD6BAA4E-5F47-E640-8B90-67FB6D90528D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A5B8E3DF-6BF0-EE49-A8F4-8332B7216080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lum bright="10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7807" y="6350767"/>
            <a:ext cx="2413101" cy="434259"/>
          </a:xfrm>
          <a:prstGeom prst="rect">
            <a:avLst/>
          </a:prstGeom>
        </p:spPr>
      </p:pic>
      <p:grpSp>
        <p:nvGrpSpPr>
          <p:cNvPr id="20" name="Group 19">
            <a:extLst>
              <a:ext uri="{FF2B5EF4-FFF2-40B4-BE49-F238E27FC236}">
                <a16:creationId xmlns:a16="http://schemas.microsoft.com/office/drawing/2014/main" id="{3F1D3441-33E0-1A47-A76C-7341FBCD4441}"/>
              </a:ext>
            </a:extLst>
          </p:cNvPr>
          <p:cNvGrpSpPr/>
          <p:nvPr/>
        </p:nvGrpSpPr>
        <p:grpSpPr>
          <a:xfrm>
            <a:off x="10672234" y="6392334"/>
            <a:ext cx="1150623" cy="385495"/>
            <a:chOff x="8004175" y="4794250"/>
            <a:chExt cx="862967" cy="289121"/>
          </a:xfrm>
        </p:grpSpPr>
        <p:pic>
          <p:nvPicPr>
            <p:cNvPr id="21" name="Picture 20" descr="A close up of a sign&#10;&#10;Description automatically generated">
              <a:extLst>
                <a:ext uri="{FF2B5EF4-FFF2-40B4-BE49-F238E27FC236}">
                  <a16:creationId xmlns:a16="http://schemas.microsoft.com/office/drawing/2014/main" id="{08F3BAB7-BEFC-7749-8C65-8D5090C3703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>
              <a:extLst>
                <a:ext uri="{BEBA8EAE-BF5A-486C-A8C5-ECC9F3942E4B}">
                  <a14:imgProps xmlns:a14="http://schemas.microsoft.com/office/drawing/2010/main">
                    <a14:imgLayer r:embed="rId9">
                      <a14:imgEffect>
                        <a14:brightnessContrast bright="100000"/>
                      </a14:imgEffect>
                    </a14:imgLayer>
                  </a14:imgProps>
                </a:ext>
              </a:extLst>
            </a:blip>
            <a:srcRect l="21996"/>
            <a:stretch/>
          </p:blipFill>
          <p:spPr>
            <a:xfrm>
              <a:off x="8191500" y="4794250"/>
              <a:ext cx="675642" cy="289121"/>
            </a:xfrm>
            <a:prstGeom prst="rect">
              <a:avLst/>
            </a:prstGeom>
          </p:spPr>
        </p:pic>
        <p:pic>
          <p:nvPicPr>
            <p:cNvPr id="22" name="Picture 21" descr="A close up of a sign&#10;&#10;Description automatically generated">
              <a:extLst>
                <a:ext uri="{FF2B5EF4-FFF2-40B4-BE49-F238E27FC236}">
                  <a16:creationId xmlns:a16="http://schemas.microsoft.com/office/drawing/2014/main" id="{9803BD48-5FDE-AC43-A6BF-0206A2118B7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0"/>
            <a:srcRect l="369" r="78004"/>
            <a:stretch/>
          </p:blipFill>
          <p:spPr>
            <a:xfrm>
              <a:off x="8004175" y="4794250"/>
              <a:ext cx="187325" cy="28912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87914308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9" r:id="rId1"/>
    <p:sldLayoutId id="2147483720" r:id="rId2"/>
    <p:sldLayoutId id="2147483721" r:id="rId3"/>
    <p:sldLayoutId id="2147483722" r:id="rId4"/>
  </p:sldLayoutIdLst>
  <p:transition>
    <p:fade/>
  </p:transition>
  <p:hf hdr="0" ftr="0" dt="0"/>
  <p:txStyles>
    <p:titleStyle>
      <a:lvl1pPr algn="l" defTabSz="609585" rtl="0" eaLnBrk="1" latinLnBrk="0" hangingPunct="1">
        <a:lnSpc>
          <a:spcPct val="85000"/>
        </a:lnSpc>
        <a:spcBef>
          <a:spcPts val="0"/>
        </a:spcBef>
        <a:spcAft>
          <a:spcPts val="0"/>
        </a:spcAft>
        <a:buNone/>
        <a:defRPr sz="3733" b="1" i="0" kern="1200">
          <a:solidFill>
            <a:schemeClr val="accent1"/>
          </a:solidFill>
          <a:latin typeface="+mj-lt"/>
          <a:ea typeface="Helvetica Neue" panose="02000503000000020004" pitchFamily="2" charset="0"/>
          <a:cs typeface="Helvetica Neue" panose="02000503000000020004" pitchFamily="2" charset="0"/>
        </a:defRPr>
      </a:lvl1pPr>
    </p:titleStyle>
    <p:bodyStyle>
      <a:lvl1pPr marL="0" indent="0" algn="l" defTabSz="609585" rtl="0" eaLnBrk="1" latinLnBrk="0" hangingPunct="1">
        <a:lnSpc>
          <a:spcPct val="100000"/>
        </a:lnSpc>
        <a:spcBef>
          <a:spcPts val="800"/>
        </a:spcBef>
        <a:spcAft>
          <a:spcPts val="0"/>
        </a:spcAft>
        <a:buFontTx/>
        <a:buNone/>
        <a:defRPr sz="2667" b="0" i="0" kern="1200">
          <a:solidFill>
            <a:schemeClr val="tx1"/>
          </a:solidFill>
          <a:latin typeface="+mj-lt"/>
          <a:ea typeface="Helvetica Neue Thin" panose="020B0403020202020204" pitchFamily="34" charset="0"/>
          <a:cs typeface="+mn-cs"/>
        </a:defRPr>
      </a:lvl1pPr>
      <a:lvl2pPr marL="160863" indent="-160863" algn="l" defTabSz="609585" rtl="0" eaLnBrk="1" latinLnBrk="0" hangingPunct="1">
        <a:lnSpc>
          <a:spcPct val="95000"/>
        </a:lnSpc>
        <a:spcBef>
          <a:spcPts val="400"/>
        </a:spcBef>
        <a:spcAft>
          <a:spcPts val="0"/>
        </a:spcAft>
        <a:buClr>
          <a:schemeClr val="accent1"/>
        </a:buClr>
        <a:buFont typeface="Arial" panose="020B0604020202020204" pitchFamily="34" charset="0"/>
        <a:buChar char="•"/>
        <a:tabLst/>
        <a:defRPr sz="2400" b="0" i="0" kern="1200" baseline="0">
          <a:solidFill>
            <a:schemeClr val="tx1">
              <a:lumMod val="50000"/>
            </a:schemeClr>
          </a:solidFill>
          <a:latin typeface="+mj-lt"/>
          <a:ea typeface="Helvetica Neue Thin" panose="020B0403020202020204" pitchFamily="34" charset="0"/>
          <a:cs typeface="+mn-cs"/>
        </a:defRPr>
      </a:lvl2pPr>
      <a:lvl3pPr marL="459306" indent="-148163" algn="l" defTabSz="609585" rtl="0" eaLnBrk="1" latinLnBrk="0" hangingPunct="1">
        <a:lnSpc>
          <a:spcPct val="95000"/>
        </a:lnSpc>
        <a:spcBef>
          <a:spcPts val="400"/>
        </a:spcBef>
        <a:spcAft>
          <a:spcPts val="0"/>
        </a:spcAft>
        <a:buClr>
          <a:schemeClr val="accent1"/>
        </a:buClr>
        <a:buFont typeface="Arial" panose="020B0604020202020204" pitchFamily="34" charset="0"/>
        <a:buChar char="•"/>
        <a:tabLst/>
        <a:defRPr sz="2133" b="0" i="0" kern="1200">
          <a:solidFill>
            <a:schemeClr val="tx1">
              <a:lumMod val="50000"/>
            </a:schemeClr>
          </a:solidFill>
          <a:latin typeface="+mj-lt"/>
          <a:ea typeface="Helvetica Neue Thin" panose="020B0403020202020204" pitchFamily="34" charset="0"/>
          <a:cs typeface="+mn-cs"/>
        </a:defRPr>
      </a:lvl3pPr>
      <a:lvl4pPr marL="764098" indent="-148163" algn="l" defTabSz="609585" rtl="0" eaLnBrk="1" latinLnBrk="0" hangingPunct="1">
        <a:lnSpc>
          <a:spcPct val="95000"/>
        </a:lnSpc>
        <a:spcBef>
          <a:spcPts val="400"/>
        </a:spcBef>
        <a:spcAft>
          <a:spcPts val="0"/>
        </a:spcAft>
        <a:buClr>
          <a:schemeClr val="accent1"/>
        </a:buClr>
        <a:buFont typeface="Arial" panose="020B0604020202020204" pitchFamily="34" charset="0"/>
        <a:buChar char="•"/>
        <a:tabLst/>
        <a:defRPr sz="1867" b="0" i="0" kern="1200">
          <a:solidFill>
            <a:schemeClr val="tx1">
              <a:lumMod val="65000"/>
              <a:lumOff val="35000"/>
            </a:schemeClr>
          </a:solidFill>
          <a:latin typeface="Century Gothic" panose="020B0502020202020204" pitchFamily="34" charset="0"/>
          <a:ea typeface="Helvetica Neue Thin" panose="020B0403020202020204" pitchFamily="34" charset="0"/>
          <a:cs typeface="+mn-cs"/>
        </a:defRPr>
      </a:lvl4pPr>
      <a:lvl5pPr marL="1066773" indent="-148163" algn="l" defTabSz="609585" rtl="0" eaLnBrk="1" latinLnBrk="0" hangingPunct="1">
        <a:lnSpc>
          <a:spcPct val="95000"/>
        </a:lnSpc>
        <a:spcBef>
          <a:spcPts val="400"/>
        </a:spcBef>
        <a:spcAft>
          <a:spcPts val="0"/>
        </a:spcAft>
        <a:buClr>
          <a:schemeClr val="accent1"/>
        </a:buClr>
        <a:buFont typeface="Arial" panose="020B0604020202020204" pitchFamily="34" charset="0"/>
        <a:buChar char="•"/>
        <a:tabLst/>
        <a:defRPr sz="1467" b="0" i="0" kern="1200">
          <a:solidFill>
            <a:schemeClr val="tx1">
              <a:lumMod val="65000"/>
              <a:lumOff val="35000"/>
            </a:schemeClr>
          </a:solidFill>
          <a:latin typeface="Century Gothic" panose="020B0502020202020204" pitchFamily="34" charset="0"/>
          <a:ea typeface="Helvetica Neue Thin" panose="020B0403020202020204" pitchFamily="34" charset="0"/>
          <a:cs typeface="+mn-cs"/>
        </a:defRPr>
      </a:lvl5pPr>
      <a:lvl6pPr marL="1950671" indent="0" algn="l" defTabSz="609585" rtl="0" eaLnBrk="1" latinLnBrk="0" hangingPunct="1">
        <a:lnSpc>
          <a:spcPct val="140000"/>
        </a:lnSpc>
        <a:spcBef>
          <a:spcPts val="32"/>
        </a:spcBef>
        <a:buFont typeface="Arial" panose="020B0604020202020204" pitchFamily="34" charset="0"/>
        <a:buNone/>
        <a:defRPr sz="3733" kern="1200">
          <a:solidFill>
            <a:srgbClr val="7C878E"/>
          </a:solidFill>
          <a:latin typeface="+mn-lt"/>
          <a:ea typeface="+mn-ea"/>
          <a:cs typeface="+mn-cs"/>
        </a:defRPr>
      </a:lvl6pPr>
      <a:lvl7pPr marL="2316422" indent="0" algn="l" defTabSz="609585" rtl="0" eaLnBrk="1" latinLnBrk="0" hangingPunct="1">
        <a:lnSpc>
          <a:spcPct val="140000"/>
        </a:lnSpc>
        <a:spcBef>
          <a:spcPts val="32"/>
        </a:spcBef>
        <a:buFont typeface="Arial"/>
        <a:buNone/>
        <a:defRPr sz="3733" kern="1200" baseline="0">
          <a:solidFill>
            <a:srgbClr val="7C878E"/>
          </a:solidFill>
          <a:latin typeface="+mn-lt"/>
          <a:ea typeface="+mn-ea"/>
          <a:cs typeface="+mn-cs"/>
        </a:defRPr>
      </a:lvl7pPr>
      <a:lvl8pPr marL="2682173" indent="0" algn="l" defTabSz="609585" rtl="0" eaLnBrk="1" latinLnBrk="0" hangingPunct="1">
        <a:lnSpc>
          <a:spcPct val="140000"/>
        </a:lnSpc>
        <a:spcBef>
          <a:spcPts val="32"/>
        </a:spcBef>
        <a:buFont typeface="Arial"/>
        <a:buNone/>
        <a:defRPr sz="3733" kern="1200" baseline="0">
          <a:solidFill>
            <a:srgbClr val="7C878E"/>
          </a:solidFill>
          <a:latin typeface="+mn-lt"/>
          <a:ea typeface="+mn-ea"/>
          <a:cs typeface="+mn-cs"/>
        </a:defRPr>
      </a:lvl8pPr>
      <a:lvl9pPr marL="3047924" indent="0" algn="l" defTabSz="609585" rtl="0" eaLnBrk="1" latinLnBrk="0" hangingPunct="1">
        <a:lnSpc>
          <a:spcPct val="140000"/>
        </a:lnSpc>
        <a:spcBef>
          <a:spcPts val="32"/>
        </a:spcBef>
        <a:buFont typeface="Arial" panose="020B0604020202020204" pitchFamily="34" charset="0"/>
        <a:buNone/>
        <a:defRPr lang="en-US" sz="3733" kern="1200" baseline="0" dirty="0" smtClean="0">
          <a:solidFill>
            <a:srgbClr val="7C878E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77">
          <p15:clr>
            <a:srgbClr val="F26B43"/>
          </p15:clr>
        </p15:guide>
        <p15:guide id="2" pos="2880">
          <p15:clr>
            <a:srgbClr val="F26B43"/>
          </p15:clr>
        </p15:guide>
        <p15:guide id="3" pos="240">
          <p15:clr>
            <a:srgbClr val="F26B43"/>
          </p15:clr>
        </p15:guide>
        <p15:guide id="4" orient="horz" pos="630">
          <p15:clr>
            <a:srgbClr val="F26B43"/>
          </p15:clr>
        </p15:guide>
        <p15:guide id="6" pos="5580">
          <p15:clr>
            <a:srgbClr val="F26B43"/>
          </p15:clr>
        </p15:guide>
        <p15:guide id="7" orient="horz" pos="336">
          <p15:clr>
            <a:srgbClr val="F26B43"/>
          </p15:clr>
        </p15:guide>
        <p15:guide id="8" orient="horz" pos="3151">
          <p15:clr>
            <a:srgbClr val="F26B43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D49B2BA5-96E4-444F-86F5-83B9B6AAB233}"/>
              </a:ext>
            </a:extLst>
          </p:cNvPr>
          <p:cNvPicPr>
            <a:picLocks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6267979"/>
            <a:ext cx="12192000" cy="590021"/>
          </a:xfrm>
          <a:prstGeom prst="rect">
            <a:avLst/>
          </a:prstGeom>
        </p:spPr>
      </p:pic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3BB8313-9F52-0745-B4E7-EA288064194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83395" y="5926369"/>
            <a:ext cx="11425211" cy="30613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933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83396" y="204645"/>
            <a:ext cx="11414904" cy="684355"/>
          </a:xfrm>
          <a:prstGeom prst="rect">
            <a:avLst/>
          </a:prstGeom>
        </p:spPr>
        <p:txBody>
          <a:bodyPr vert="horz" lIns="91440" tIns="45720" rIns="0" bIns="45720" rtlCol="0" anchor="t">
            <a:noAutofit/>
          </a:bodyPr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14" name="Text Placeholder 3"/>
          <p:cNvSpPr>
            <a:spLocks noGrp="1"/>
          </p:cNvSpPr>
          <p:nvPr>
            <p:ph type="body" idx="1"/>
          </p:nvPr>
        </p:nvSpPr>
        <p:spPr>
          <a:xfrm>
            <a:off x="383395" y="1342769"/>
            <a:ext cx="11425211" cy="4546199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5913764B-55B6-2D4C-ADAF-1F8FA95B3C43}"/>
              </a:ext>
            </a:extLst>
          </p:cNvPr>
          <p:cNvSpPr/>
          <p:nvPr/>
        </p:nvSpPr>
        <p:spPr>
          <a:xfrm>
            <a:off x="5159688" y="6488347"/>
            <a:ext cx="1872629" cy="256545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marL="0" algn="ctr" defTabSz="609585" rtl="0" eaLnBrk="1" latinLnBrk="0" hangingPunct="1"/>
            <a:r>
              <a:rPr lang="en-US" sz="1067">
                <a:solidFill>
                  <a:schemeClr val="bg1"/>
                </a:solidFill>
              </a:rPr>
              <a:t>Confidential and Proprietary</a:t>
            </a:r>
          </a:p>
        </p:txBody>
      </p:sp>
      <p:sp>
        <p:nvSpPr>
          <p:cNvPr id="10" name="Slide Number Placeholder 2">
            <a:extLst>
              <a:ext uri="{FF2B5EF4-FFF2-40B4-BE49-F238E27FC236}">
                <a16:creationId xmlns:a16="http://schemas.microsoft.com/office/drawing/2014/main" id="{344563C5-9D53-6A4F-8CB2-9596A9EF052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bg1"/>
                </a:solidFill>
              </a:defRPr>
            </a:lvl1pPr>
          </a:lstStyle>
          <a:p>
            <a:fld id="{AD6BAA4E-5F47-E640-8B90-67FB6D90528D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DCD0F36F-683B-324E-806B-E3E999BB0693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lum bright="10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7807" y="6350767"/>
            <a:ext cx="2413101" cy="434259"/>
          </a:xfrm>
          <a:prstGeom prst="rect">
            <a:avLst/>
          </a:prstGeom>
        </p:spPr>
      </p:pic>
      <p:grpSp>
        <p:nvGrpSpPr>
          <p:cNvPr id="20" name="Group 19">
            <a:extLst>
              <a:ext uri="{FF2B5EF4-FFF2-40B4-BE49-F238E27FC236}">
                <a16:creationId xmlns:a16="http://schemas.microsoft.com/office/drawing/2014/main" id="{EC66A663-A352-7A41-81C0-C73D438DBC12}"/>
              </a:ext>
            </a:extLst>
          </p:cNvPr>
          <p:cNvGrpSpPr/>
          <p:nvPr/>
        </p:nvGrpSpPr>
        <p:grpSpPr>
          <a:xfrm>
            <a:off x="10672234" y="6392334"/>
            <a:ext cx="1150623" cy="385495"/>
            <a:chOff x="8004175" y="4794250"/>
            <a:chExt cx="862967" cy="289121"/>
          </a:xfrm>
        </p:grpSpPr>
        <p:pic>
          <p:nvPicPr>
            <p:cNvPr id="21" name="Picture 20" descr="A close up of a sign&#10;&#10;Description automatically generated">
              <a:extLst>
                <a:ext uri="{FF2B5EF4-FFF2-40B4-BE49-F238E27FC236}">
                  <a16:creationId xmlns:a16="http://schemas.microsoft.com/office/drawing/2014/main" id="{627D1402-AB26-B943-82DF-010E4BE7554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>
              <a:extLst>
                <a:ext uri="{BEBA8EAE-BF5A-486C-A8C5-ECC9F3942E4B}">
                  <a14:imgProps xmlns:a14="http://schemas.microsoft.com/office/drawing/2010/main">
                    <a14:imgLayer r:embed="rId9">
                      <a14:imgEffect>
                        <a14:brightnessContrast bright="100000"/>
                      </a14:imgEffect>
                    </a14:imgLayer>
                  </a14:imgProps>
                </a:ext>
              </a:extLst>
            </a:blip>
            <a:srcRect l="21996"/>
            <a:stretch/>
          </p:blipFill>
          <p:spPr>
            <a:xfrm>
              <a:off x="8191500" y="4794250"/>
              <a:ext cx="675642" cy="289121"/>
            </a:xfrm>
            <a:prstGeom prst="rect">
              <a:avLst/>
            </a:prstGeom>
          </p:spPr>
        </p:pic>
        <p:pic>
          <p:nvPicPr>
            <p:cNvPr id="22" name="Picture 21" descr="A close up of a sign&#10;&#10;Description automatically generated">
              <a:extLst>
                <a:ext uri="{FF2B5EF4-FFF2-40B4-BE49-F238E27FC236}">
                  <a16:creationId xmlns:a16="http://schemas.microsoft.com/office/drawing/2014/main" id="{DD33F590-3592-B345-B9DB-BB6B1C61362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0"/>
            <a:srcRect l="369" r="78004"/>
            <a:stretch/>
          </p:blipFill>
          <p:spPr>
            <a:xfrm>
              <a:off x="8004175" y="4794250"/>
              <a:ext cx="187325" cy="28912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79254329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4" r:id="rId1"/>
    <p:sldLayoutId id="2147483725" r:id="rId2"/>
    <p:sldLayoutId id="2147483726" r:id="rId3"/>
    <p:sldLayoutId id="2147483727" r:id="rId4"/>
  </p:sldLayoutIdLst>
  <p:transition>
    <p:fade/>
  </p:transition>
  <p:hf hdr="0" ftr="0" dt="0"/>
  <p:txStyles>
    <p:titleStyle>
      <a:lvl1pPr algn="l" defTabSz="609585" rtl="0" eaLnBrk="1" latinLnBrk="0" hangingPunct="1">
        <a:lnSpc>
          <a:spcPct val="85000"/>
        </a:lnSpc>
        <a:spcBef>
          <a:spcPts val="0"/>
        </a:spcBef>
        <a:spcAft>
          <a:spcPts val="0"/>
        </a:spcAft>
        <a:buNone/>
        <a:defRPr sz="3733" b="1" i="0" kern="1200">
          <a:solidFill>
            <a:schemeClr val="accent1"/>
          </a:solidFill>
          <a:latin typeface="+mj-lt"/>
          <a:ea typeface="Helvetica Neue" panose="02000503000000020004" pitchFamily="2" charset="0"/>
          <a:cs typeface="Helvetica Neue" panose="02000503000000020004" pitchFamily="2" charset="0"/>
        </a:defRPr>
      </a:lvl1pPr>
    </p:titleStyle>
    <p:bodyStyle>
      <a:lvl1pPr marL="0" indent="0" algn="l" defTabSz="609585" rtl="0" eaLnBrk="1" latinLnBrk="0" hangingPunct="1">
        <a:lnSpc>
          <a:spcPct val="100000"/>
        </a:lnSpc>
        <a:spcBef>
          <a:spcPts val="800"/>
        </a:spcBef>
        <a:spcAft>
          <a:spcPts val="0"/>
        </a:spcAft>
        <a:buFontTx/>
        <a:buNone/>
        <a:defRPr sz="2667" b="0" i="0" kern="1200">
          <a:solidFill>
            <a:schemeClr val="tx1"/>
          </a:solidFill>
          <a:latin typeface="+mj-lt"/>
          <a:ea typeface="Helvetica Neue Thin" panose="020B0403020202020204" pitchFamily="34" charset="0"/>
          <a:cs typeface="+mn-cs"/>
        </a:defRPr>
      </a:lvl1pPr>
      <a:lvl2pPr marL="160863" indent="-160863" algn="l" defTabSz="609585" rtl="0" eaLnBrk="1" latinLnBrk="0" hangingPunct="1">
        <a:lnSpc>
          <a:spcPct val="95000"/>
        </a:lnSpc>
        <a:spcBef>
          <a:spcPts val="400"/>
        </a:spcBef>
        <a:spcAft>
          <a:spcPts val="0"/>
        </a:spcAft>
        <a:buClr>
          <a:schemeClr val="accent1"/>
        </a:buClr>
        <a:buFont typeface="Arial" panose="020B0604020202020204" pitchFamily="34" charset="0"/>
        <a:buChar char="•"/>
        <a:tabLst/>
        <a:defRPr sz="2400" b="0" i="0" kern="1200" baseline="0">
          <a:solidFill>
            <a:schemeClr val="tx1">
              <a:lumMod val="50000"/>
            </a:schemeClr>
          </a:solidFill>
          <a:latin typeface="+mj-lt"/>
          <a:ea typeface="Helvetica Neue Thin" panose="020B0403020202020204" pitchFamily="34" charset="0"/>
          <a:cs typeface="+mn-cs"/>
        </a:defRPr>
      </a:lvl2pPr>
      <a:lvl3pPr marL="459306" indent="-148163" algn="l" defTabSz="609585" rtl="0" eaLnBrk="1" latinLnBrk="0" hangingPunct="1">
        <a:lnSpc>
          <a:spcPct val="95000"/>
        </a:lnSpc>
        <a:spcBef>
          <a:spcPts val="400"/>
        </a:spcBef>
        <a:spcAft>
          <a:spcPts val="0"/>
        </a:spcAft>
        <a:buClr>
          <a:schemeClr val="accent1"/>
        </a:buClr>
        <a:buFont typeface="Arial" panose="020B0604020202020204" pitchFamily="34" charset="0"/>
        <a:buChar char="•"/>
        <a:tabLst/>
        <a:defRPr sz="2133" b="0" i="0" kern="1200">
          <a:solidFill>
            <a:schemeClr val="tx1">
              <a:lumMod val="50000"/>
            </a:schemeClr>
          </a:solidFill>
          <a:latin typeface="+mj-lt"/>
          <a:ea typeface="Helvetica Neue Thin" panose="020B0403020202020204" pitchFamily="34" charset="0"/>
          <a:cs typeface="+mn-cs"/>
        </a:defRPr>
      </a:lvl3pPr>
      <a:lvl4pPr marL="764098" indent="-148163" algn="l" defTabSz="609585" rtl="0" eaLnBrk="1" latinLnBrk="0" hangingPunct="1">
        <a:lnSpc>
          <a:spcPct val="95000"/>
        </a:lnSpc>
        <a:spcBef>
          <a:spcPts val="400"/>
        </a:spcBef>
        <a:spcAft>
          <a:spcPts val="0"/>
        </a:spcAft>
        <a:buClr>
          <a:schemeClr val="accent1"/>
        </a:buClr>
        <a:buFont typeface="Arial" panose="020B0604020202020204" pitchFamily="34" charset="0"/>
        <a:buChar char="•"/>
        <a:tabLst/>
        <a:defRPr sz="1867" b="0" i="0" kern="1200">
          <a:solidFill>
            <a:schemeClr val="tx1">
              <a:lumMod val="65000"/>
              <a:lumOff val="35000"/>
            </a:schemeClr>
          </a:solidFill>
          <a:latin typeface="Century Gothic" panose="020B0502020202020204" pitchFamily="34" charset="0"/>
          <a:ea typeface="Helvetica Neue Thin" panose="020B0403020202020204" pitchFamily="34" charset="0"/>
          <a:cs typeface="+mn-cs"/>
        </a:defRPr>
      </a:lvl4pPr>
      <a:lvl5pPr marL="1066773" indent="-148163" algn="l" defTabSz="609585" rtl="0" eaLnBrk="1" latinLnBrk="0" hangingPunct="1">
        <a:lnSpc>
          <a:spcPct val="95000"/>
        </a:lnSpc>
        <a:spcBef>
          <a:spcPts val="400"/>
        </a:spcBef>
        <a:spcAft>
          <a:spcPts val="0"/>
        </a:spcAft>
        <a:buClr>
          <a:schemeClr val="accent1"/>
        </a:buClr>
        <a:buFont typeface="Arial" panose="020B0604020202020204" pitchFamily="34" charset="0"/>
        <a:buChar char="•"/>
        <a:tabLst/>
        <a:defRPr sz="1467" b="0" i="0" kern="1200">
          <a:solidFill>
            <a:schemeClr val="tx1">
              <a:lumMod val="65000"/>
              <a:lumOff val="35000"/>
            </a:schemeClr>
          </a:solidFill>
          <a:latin typeface="Century Gothic" panose="020B0502020202020204" pitchFamily="34" charset="0"/>
          <a:ea typeface="Helvetica Neue Thin" panose="020B0403020202020204" pitchFamily="34" charset="0"/>
          <a:cs typeface="+mn-cs"/>
        </a:defRPr>
      </a:lvl5pPr>
      <a:lvl6pPr marL="1950671" indent="0" algn="l" defTabSz="609585" rtl="0" eaLnBrk="1" latinLnBrk="0" hangingPunct="1">
        <a:lnSpc>
          <a:spcPct val="140000"/>
        </a:lnSpc>
        <a:spcBef>
          <a:spcPts val="32"/>
        </a:spcBef>
        <a:buFont typeface="Arial" panose="020B0604020202020204" pitchFamily="34" charset="0"/>
        <a:buNone/>
        <a:defRPr sz="3733" kern="1200">
          <a:solidFill>
            <a:srgbClr val="7C878E"/>
          </a:solidFill>
          <a:latin typeface="+mn-lt"/>
          <a:ea typeface="+mn-ea"/>
          <a:cs typeface="+mn-cs"/>
        </a:defRPr>
      </a:lvl6pPr>
      <a:lvl7pPr marL="2316422" indent="0" algn="l" defTabSz="609585" rtl="0" eaLnBrk="1" latinLnBrk="0" hangingPunct="1">
        <a:lnSpc>
          <a:spcPct val="140000"/>
        </a:lnSpc>
        <a:spcBef>
          <a:spcPts val="32"/>
        </a:spcBef>
        <a:buFont typeface="Arial"/>
        <a:buNone/>
        <a:defRPr sz="3733" kern="1200" baseline="0">
          <a:solidFill>
            <a:srgbClr val="7C878E"/>
          </a:solidFill>
          <a:latin typeface="+mn-lt"/>
          <a:ea typeface="+mn-ea"/>
          <a:cs typeface="+mn-cs"/>
        </a:defRPr>
      </a:lvl7pPr>
      <a:lvl8pPr marL="2682173" indent="0" algn="l" defTabSz="609585" rtl="0" eaLnBrk="1" latinLnBrk="0" hangingPunct="1">
        <a:lnSpc>
          <a:spcPct val="140000"/>
        </a:lnSpc>
        <a:spcBef>
          <a:spcPts val="32"/>
        </a:spcBef>
        <a:buFont typeface="Arial"/>
        <a:buNone/>
        <a:defRPr sz="3733" kern="1200" baseline="0">
          <a:solidFill>
            <a:srgbClr val="7C878E"/>
          </a:solidFill>
          <a:latin typeface="+mn-lt"/>
          <a:ea typeface="+mn-ea"/>
          <a:cs typeface="+mn-cs"/>
        </a:defRPr>
      </a:lvl8pPr>
      <a:lvl9pPr marL="3047924" indent="0" algn="l" defTabSz="609585" rtl="0" eaLnBrk="1" latinLnBrk="0" hangingPunct="1">
        <a:lnSpc>
          <a:spcPct val="140000"/>
        </a:lnSpc>
        <a:spcBef>
          <a:spcPts val="32"/>
        </a:spcBef>
        <a:buFont typeface="Arial" panose="020B0604020202020204" pitchFamily="34" charset="0"/>
        <a:buNone/>
        <a:defRPr lang="en-US" sz="3733" kern="1200" baseline="0" dirty="0" smtClean="0">
          <a:solidFill>
            <a:srgbClr val="7C878E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77">
          <p15:clr>
            <a:srgbClr val="F26B43"/>
          </p15:clr>
        </p15:guide>
        <p15:guide id="2" pos="2880">
          <p15:clr>
            <a:srgbClr val="F26B43"/>
          </p15:clr>
        </p15:guide>
        <p15:guide id="3" pos="240">
          <p15:clr>
            <a:srgbClr val="F26B43"/>
          </p15:clr>
        </p15:guide>
        <p15:guide id="4" orient="horz" pos="630">
          <p15:clr>
            <a:srgbClr val="F26B43"/>
          </p15:clr>
        </p15:guide>
        <p15:guide id="6" pos="5580">
          <p15:clr>
            <a:srgbClr val="F26B43"/>
          </p15:clr>
        </p15:guide>
        <p15:guide id="7" orient="horz" pos="336">
          <p15:clr>
            <a:srgbClr val="F26B43"/>
          </p15:clr>
        </p15:guide>
        <p15:guide id="8" orient="horz" pos="3151">
          <p15:clr>
            <a:srgbClr val="F26B43"/>
          </p15:clr>
        </p15:guide>
      </p15:sldGuideLst>
    </p:ext>
  </p:extLst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>
            <a:extLst>
              <a:ext uri="{FF2B5EF4-FFF2-40B4-BE49-F238E27FC236}">
                <a16:creationId xmlns:a16="http://schemas.microsoft.com/office/drawing/2014/main" id="{95A2FBBD-990F-1B4D-B0A2-F8504047665A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2" y="6267979"/>
            <a:ext cx="12192001" cy="590021"/>
          </a:xfrm>
          <a:prstGeom prst="rect">
            <a:avLst/>
          </a:prstGeom>
        </p:spPr>
      </p:pic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3BB8313-9F52-0745-B4E7-EA288064194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83395" y="5926369"/>
            <a:ext cx="11425211" cy="30613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933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83396" y="204645"/>
            <a:ext cx="11414904" cy="684355"/>
          </a:xfrm>
          <a:prstGeom prst="rect">
            <a:avLst/>
          </a:prstGeom>
        </p:spPr>
        <p:txBody>
          <a:bodyPr vert="horz" lIns="91440" tIns="45720" rIns="0" bIns="45720" rtlCol="0" anchor="t">
            <a:noAutofit/>
          </a:bodyPr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14" name="Text Placeholder 3"/>
          <p:cNvSpPr>
            <a:spLocks noGrp="1"/>
          </p:cNvSpPr>
          <p:nvPr>
            <p:ph type="body" idx="1"/>
          </p:nvPr>
        </p:nvSpPr>
        <p:spPr>
          <a:xfrm>
            <a:off x="383395" y="1342769"/>
            <a:ext cx="11425211" cy="4546199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endParaRPr lang="en-US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F13072AD-A548-464D-89E9-48753E336521}"/>
              </a:ext>
            </a:extLst>
          </p:cNvPr>
          <p:cNvSpPr/>
          <p:nvPr/>
        </p:nvSpPr>
        <p:spPr>
          <a:xfrm>
            <a:off x="5159688" y="6488347"/>
            <a:ext cx="1872629" cy="256545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marL="0" algn="ctr" defTabSz="609585" rtl="0" eaLnBrk="1" latinLnBrk="0" hangingPunct="1"/>
            <a:r>
              <a:rPr lang="en-US" sz="1067">
                <a:solidFill>
                  <a:schemeClr val="bg1"/>
                </a:solidFill>
              </a:rPr>
              <a:t>Confidential and Proprietary</a:t>
            </a:r>
          </a:p>
        </p:txBody>
      </p:sp>
      <p:sp>
        <p:nvSpPr>
          <p:cNvPr id="10" name="Slide Number Placeholder 2">
            <a:extLst>
              <a:ext uri="{FF2B5EF4-FFF2-40B4-BE49-F238E27FC236}">
                <a16:creationId xmlns:a16="http://schemas.microsoft.com/office/drawing/2014/main" id="{12655957-7B29-6245-B2C2-012D8C74B01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bg1"/>
                </a:solidFill>
              </a:defRPr>
            </a:lvl1pPr>
          </a:lstStyle>
          <a:p>
            <a:fld id="{AD6BAA4E-5F47-E640-8B90-67FB6D90528D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D6F709E6-BCF3-7345-8BF0-E158D5973F17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lum bright="10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7807" y="6350767"/>
            <a:ext cx="2413101" cy="434259"/>
          </a:xfrm>
          <a:prstGeom prst="rect">
            <a:avLst/>
          </a:prstGeom>
        </p:spPr>
      </p:pic>
      <p:grpSp>
        <p:nvGrpSpPr>
          <p:cNvPr id="21" name="Group 20">
            <a:extLst>
              <a:ext uri="{FF2B5EF4-FFF2-40B4-BE49-F238E27FC236}">
                <a16:creationId xmlns:a16="http://schemas.microsoft.com/office/drawing/2014/main" id="{7748DE1C-9F93-4747-B023-F19C3936A61E}"/>
              </a:ext>
            </a:extLst>
          </p:cNvPr>
          <p:cNvGrpSpPr/>
          <p:nvPr/>
        </p:nvGrpSpPr>
        <p:grpSpPr>
          <a:xfrm>
            <a:off x="10672234" y="6392334"/>
            <a:ext cx="1150623" cy="385495"/>
            <a:chOff x="8004175" y="4794250"/>
            <a:chExt cx="862967" cy="289121"/>
          </a:xfrm>
        </p:grpSpPr>
        <p:pic>
          <p:nvPicPr>
            <p:cNvPr id="22" name="Picture 21" descr="A close up of a sign&#10;&#10;Description automatically generated">
              <a:extLst>
                <a:ext uri="{FF2B5EF4-FFF2-40B4-BE49-F238E27FC236}">
                  <a16:creationId xmlns:a16="http://schemas.microsoft.com/office/drawing/2014/main" id="{303D4F13-F673-1647-AA82-96735DF7D81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>
              <a:extLst>
                <a:ext uri="{BEBA8EAE-BF5A-486C-A8C5-ECC9F3942E4B}">
                  <a14:imgProps xmlns:a14="http://schemas.microsoft.com/office/drawing/2010/main">
                    <a14:imgLayer r:embed="rId9">
                      <a14:imgEffect>
                        <a14:brightnessContrast bright="100000"/>
                      </a14:imgEffect>
                    </a14:imgLayer>
                  </a14:imgProps>
                </a:ext>
              </a:extLst>
            </a:blip>
            <a:srcRect l="21996"/>
            <a:stretch/>
          </p:blipFill>
          <p:spPr>
            <a:xfrm>
              <a:off x="8191500" y="4794250"/>
              <a:ext cx="675642" cy="289121"/>
            </a:xfrm>
            <a:prstGeom prst="rect">
              <a:avLst/>
            </a:prstGeom>
          </p:spPr>
        </p:pic>
        <p:pic>
          <p:nvPicPr>
            <p:cNvPr id="23" name="Picture 22" descr="A close up of a sign&#10;&#10;Description automatically generated">
              <a:extLst>
                <a:ext uri="{FF2B5EF4-FFF2-40B4-BE49-F238E27FC236}">
                  <a16:creationId xmlns:a16="http://schemas.microsoft.com/office/drawing/2014/main" id="{D98D1285-1942-6E4F-B5AD-766EC960CFB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0"/>
            <a:srcRect l="369" r="78004"/>
            <a:stretch/>
          </p:blipFill>
          <p:spPr>
            <a:xfrm>
              <a:off x="8004175" y="4794250"/>
              <a:ext cx="187325" cy="28912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818029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9" r:id="rId1"/>
    <p:sldLayoutId id="2147483730" r:id="rId2"/>
    <p:sldLayoutId id="2147483731" r:id="rId3"/>
    <p:sldLayoutId id="2147483732" r:id="rId4"/>
  </p:sldLayoutIdLst>
  <p:transition>
    <p:fade/>
  </p:transition>
  <p:hf hdr="0" ftr="0" dt="0"/>
  <p:txStyles>
    <p:titleStyle>
      <a:lvl1pPr algn="l" defTabSz="609585" rtl="0" eaLnBrk="1" latinLnBrk="0" hangingPunct="1">
        <a:lnSpc>
          <a:spcPct val="85000"/>
        </a:lnSpc>
        <a:spcBef>
          <a:spcPts val="0"/>
        </a:spcBef>
        <a:spcAft>
          <a:spcPts val="0"/>
        </a:spcAft>
        <a:buNone/>
        <a:defRPr sz="3733" b="1" i="0" kern="1200">
          <a:solidFill>
            <a:schemeClr val="accent1"/>
          </a:solidFill>
          <a:latin typeface="+mj-lt"/>
          <a:ea typeface="Helvetica Neue" panose="02000503000000020004" pitchFamily="2" charset="0"/>
          <a:cs typeface="Helvetica Neue" panose="02000503000000020004" pitchFamily="2" charset="0"/>
        </a:defRPr>
      </a:lvl1pPr>
    </p:titleStyle>
    <p:bodyStyle>
      <a:lvl1pPr marL="0" indent="0" algn="l" defTabSz="609585" rtl="0" eaLnBrk="1" latinLnBrk="0" hangingPunct="1">
        <a:lnSpc>
          <a:spcPct val="100000"/>
        </a:lnSpc>
        <a:spcBef>
          <a:spcPts val="800"/>
        </a:spcBef>
        <a:spcAft>
          <a:spcPts val="0"/>
        </a:spcAft>
        <a:buFontTx/>
        <a:buNone/>
        <a:defRPr sz="2667" b="0" i="0" kern="1200">
          <a:solidFill>
            <a:schemeClr val="tx1"/>
          </a:solidFill>
          <a:latin typeface="+mj-lt"/>
          <a:ea typeface="Helvetica Neue Thin" panose="020B0403020202020204" pitchFamily="34" charset="0"/>
          <a:cs typeface="+mn-cs"/>
        </a:defRPr>
      </a:lvl1pPr>
      <a:lvl2pPr marL="160863" indent="-160863" algn="l" defTabSz="609585" rtl="0" eaLnBrk="1" latinLnBrk="0" hangingPunct="1">
        <a:lnSpc>
          <a:spcPct val="95000"/>
        </a:lnSpc>
        <a:spcBef>
          <a:spcPts val="400"/>
        </a:spcBef>
        <a:spcAft>
          <a:spcPts val="0"/>
        </a:spcAft>
        <a:buClr>
          <a:schemeClr val="accent1"/>
        </a:buClr>
        <a:buFont typeface="Arial" panose="020B0604020202020204" pitchFamily="34" charset="0"/>
        <a:buChar char="•"/>
        <a:tabLst/>
        <a:defRPr sz="2400" b="0" i="0" kern="1200" baseline="0">
          <a:solidFill>
            <a:schemeClr val="tx1">
              <a:lumMod val="50000"/>
            </a:schemeClr>
          </a:solidFill>
          <a:latin typeface="+mj-lt"/>
          <a:ea typeface="Helvetica Neue Thin" panose="020B0403020202020204" pitchFamily="34" charset="0"/>
          <a:cs typeface="+mn-cs"/>
        </a:defRPr>
      </a:lvl2pPr>
      <a:lvl3pPr marL="459306" indent="-148163" algn="l" defTabSz="609585" rtl="0" eaLnBrk="1" latinLnBrk="0" hangingPunct="1">
        <a:lnSpc>
          <a:spcPct val="95000"/>
        </a:lnSpc>
        <a:spcBef>
          <a:spcPts val="400"/>
        </a:spcBef>
        <a:spcAft>
          <a:spcPts val="0"/>
        </a:spcAft>
        <a:buClr>
          <a:schemeClr val="accent1"/>
        </a:buClr>
        <a:buFont typeface="Arial" panose="020B0604020202020204" pitchFamily="34" charset="0"/>
        <a:buChar char="•"/>
        <a:tabLst/>
        <a:defRPr sz="2133" b="0" i="0" kern="1200">
          <a:solidFill>
            <a:schemeClr val="tx1">
              <a:lumMod val="50000"/>
            </a:schemeClr>
          </a:solidFill>
          <a:latin typeface="+mj-lt"/>
          <a:ea typeface="Helvetica Neue Thin" panose="020B0403020202020204" pitchFamily="34" charset="0"/>
          <a:cs typeface="+mn-cs"/>
        </a:defRPr>
      </a:lvl3pPr>
      <a:lvl4pPr marL="764098" indent="-148163" algn="l" defTabSz="609585" rtl="0" eaLnBrk="1" latinLnBrk="0" hangingPunct="1">
        <a:lnSpc>
          <a:spcPct val="95000"/>
        </a:lnSpc>
        <a:spcBef>
          <a:spcPts val="400"/>
        </a:spcBef>
        <a:spcAft>
          <a:spcPts val="0"/>
        </a:spcAft>
        <a:buClr>
          <a:schemeClr val="accent1"/>
        </a:buClr>
        <a:buFont typeface="Arial" panose="020B0604020202020204" pitchFamily="34" charset="0"/>
        <a:buChar char="•"/>
        <a:tabLst/>
        <a:defRPr sz="1867" b="0" i="0" kern="1200">
          <a:solidFill>
            <a:schemeClr val="tx1">
              <a:lumMod val="65000"/>
              <a:lumOff val="35000"/>
            </a:schemeClr>
          </a:solidFill>
          <a:latin typeface="Century Gothic" panose="020B0502020202020204" pitchFamily="34" charset="0"/>
          <a:ea typeface="Helvetica Neue Thin" panose="020B0403020202020204" pitchFamily="34" charset="0"/>
          <a:cs typeface="+mn-cs"/>
        </a:defRPr>
      </a:lvl4pPr>
      <a:lvl5pPr marL="1066773" indent="-148163" algn="l" defTabSz="609585" rtl="0" eaLnBrk="1" latinLnBrk="0" hangingPunct="1">
        <a:lnSpc>
          <a:spcPct val="95000"/>
        </a:lnSpc>
        <a:spcBef>
          <a:spcPts val="400"/>
        </a:spcBef>
        <a:spcAft>
          <a:spcPts val="0"/>
        </a:spcAft>
        <a:buClr>
          <a:schemeClr val="accent1"/>
        </a:buClr>
        <a:buFont typeface="Arial" panose="020B0604020202020204" pitchFamily="34" charset="0"/>
        <a:buChar char="•"/>
        <a:tabLst/>
        <a:defRPr sz="1467" b="0" i="0" kern="1200">
          <a:solidFill>
            <a:schemeClr val="tx1">
              <a:lumMod val="65000"/>
              <a:lumOff val="35000"/>
            </a:schemeClr>
          </a:solidFill>
          <a:latin typeface="Century Gothic" panose="020B0502020202020204" pitchFamily="34" charset="0"/>
          <a:ea typeface="Helvetica Neue Thin" panose="020B0403020202020204" pitchFamily="34" charset="0"/>
          <a:cs typeface="+mn-cs"/>
        </a:defRPr>
      </a:lvl5pPr>
      <a:lvl6pPr marL="1950671" indent="0" algn="l" defTabSz="609585" rtl="0" eaLnBrk="1" latinLnBrk="0" hangingPunct="1">
        <a:lnSpc>
          <a:spcPct val="140000"/>
        </a:lnSpc>
        <a:spcBef>
          <a:spcPts val="32"/>
        </a:spcBef>
        <a:buFont typeface="Arial" panose="020B0604020202020204" pitchFamily="34" charset="0"/>
        <a:buNone/>
        <a:defRPr sz="3733" kern="1200">
          <a:solidFill>
            <a:srgbClr val="7C878E"/>
          </a:solidFill>
          <a:latin typeface="+mn-lt"/>
          <a:ea typeface="+mn-ea"/>
          <a:cs typeface="+mn-cs"/>
        </a:defRPr>
      </a:lvl6pPr>
      <a:lvl7pPr marL="2316422" indent="0" algn="l" defTabSz="609585" rtl="0" eaLnBrk="1" latinLnBrk="0" hangingPunct="1">
        <a:lnSpc>
          <a:spcPct val="140000"/>
        </a:lnSpc>
        <a:spcBef>
          <a:spcPts val="32"/>
        </a:spcBef>
        <a:buFont typeface="Arial"/>
        <a:buNone/>
        <a:defRPr sz="3733" kern="1200" baseline="0">
          <a:solidFill>
            <a:srgbClr val="7C878E"/>
          </a:solidFill>
          <a:latin typeface="+mn-lt"/>
          <a:ea typeface="+mn-ea"/>
          <a:cs typeface="+mn-cs"/>
        </a:defRPr>
      </a:lvl7pPr>
      <a:lvl8pPr marL="2682173" indent="0" algn="l" defTabSz="609585" rtl="0" eaLnBrk="1" latinLnBrk="0" hangingPunct="1">
        <a:lnSpc>
          <a:spcPct val="140000"/>
        </a:lnSpc>
        <a:spcBef>
          <a:spcPts val="32"/>
        </a:spcBef>
        <a:buFont typeface="Arial"/>
        <a:buNone/>
        <a:defRPr sz="3733" kern="1200" baseline="0">
          <a:solidFill>
            <a:srgbClr val="7C878E"/>
          </a:solidFill>
          <a:latin typeface="+mn-lt"/>
          <a:ea typeface="+mn-ea"/>
          <a:cs typeface="+mn-cs"/>
        </a:defRPr>
      </a:lvl8pPr>
      <a:lvl9pPr marL="3047924" indent="0" algn="l" defTabSz="609585" rtl="0" eaLnBrk="1" latinLnBrk="0" hangingPunct="1">
        <a:lnSpc>
          <a:spcPct val="140000"/>
        </a:lnSpc>
        <a:spcBef>
          <a:spcPts val="32"/>
        </a:spcBef>
        <a:buFont typeface="Arial" panose="020B0604020202020204" pitchFamily="34" charset="0"/>
        <a:buNone/>
        <a:defRPr lang="en-US" sz="3733" kern="1200" baseline="0" dirty="0" smtClean="0">
          <a:solidFill>
            <a:srgbClr val="7C878E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77">
          <p15:clr>
            <a:srgbClr val="F26B43"/>
          </p15:clr>
        </p15:guide>
        <p15:guide id="2" pos="2880">
          <p15:clr>
            <a:srgbClr val="F26B43"/>
          </p15:clr>
        </p15:guide>
        <p15:guide id="3" pos="240">
          <p15:clr>
            <a:srgbClr val="F26B43"/>
          </p15:clr>
        </p15:guide>
        <p15:guide id="4" orient="horz" pos="630">
          <p15:clr>
            <a:srgbClr val="F26B43"/>
          </p15:clr>
        </p15:guide>
        <p15:guide id="6" pos="5580">
          <p15:clr>
            <a:srgbClr val="F26B43"/>
          </p15:clr>
        </p15:guide>
        <p15:guide id="7" orient="horz" pos="336">
          <p15:clr>
            <a:srgbClr val="F26B43"/>
          </p15:clr>
        </p15:guide>
        <p15:guide id="8" orient="horz" pos="315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1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5" Type="http://schemas.openxmlformats.org/officeDocument/2006/relationships/image" Target="../media/image73.emf"/><Relationship Id="rId4" Type="http://schemas.openxmlformats.org/officeDocument/2006/relationships/oleObject" Target="../embeddings/oleObject1.bin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1.xml"/><Relationship Id="rId5" Type="http://schemas.openxmlformats.org/officeDocument/2006/relationships/image" Target="../media/image74.emf"/><Relationship Id="rId4" Type="http://schemas.openxmlformats.org/officeDocument/2006/relationships/oleObject" Target="../embeddings/oleObject9.bin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2.xml"/><Relationship Id="rId6" Type="http://schemas.openxmlformats.org/officeDocument/2006/relationships/image" Target="../media/image83.png"/><Relationship Id="rId5" Type="http://schemas.openxmlformats.org/officeDocument/2006/relationships/image" Target="../media/image74.emf"/><Relationship Id="rId4" Type="http://schemas.openxmlformats.org/officeDocument/2006/relationships/oleObject" Target="../embeddings/oleObject10.bin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3.xml"/><Relationship Id="rId5" Type="http://schemas.openxmlformats.org/officeDocument/2006/relationships/image" Target="../media/image74.emf"/><Relationship Id="rId4" Type="http://schemas.openxmlformats.org/officeDocument/2006/relationships/oleObject" Target="../embeddings/oleObject4.bin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2.bin"/><Relationship Id="rId3" Type="http://schemas.openxmlformats.org/officeDocument/2006/relationships/notesSlide" Target="../notesSlides/notesSlide12.xml"/><Relationship Id="rId7" Type="http://schemas.openxmlformats.org/officeDocument/2006/relationships/image" Target="../media/image84.emf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4.xml"/><Relationship Id="rId6" Type="http://schemas.openxmlformats.org/officeDocument/2006/relationships/oleObject" Target="../embeddings/oleObject11.bin"/><Relationship Id="rId5" Type="http://schemas.openxmlformats.org/officeDocument/2006/relationships/image" Target="../media/image74.emf"/><Relationship Id="rId4" Type="http://schemas.openxmlformats.org/officeDocument/2006/relationships/oleObject" Target="../embeddings/oleObject4.bin"/><Relationship Id="rId9" Type="http://schemas.openxmlformats.org/officeDocument/2006/relationships/image" Target="../media/image85.emf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3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5.xml"/><Relationship Id="rId6" Type="http://schemas.openxmlformats.org/officeDocument/2006/relationships/image" Target="../media/image86.png"/><Relationship Id="rId5" Type="http://schemas.openxmlformats.org/officeDocument/2006/relationships/image" Target="../media/image74.emf"/><Relationship Id="rId4" Type="http://schemas.openxmlformats.org/officeDocument/2006/relationships/oleObject" Target="../embeddings/oleObject4.bin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8.emf"/><Relationship Id="rId2" Type="http://schemas.openxmlformats.org/officeDocument/2006/relationships/image" Target="../media/image87.emf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0.emf"/><Relationship Id="rId2" Type="http://schemas.openxmlformats.org/officeDocument/2006/relationships/image" Target="../media/image89.emf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2.emf"/><Relationship Id="rId2" Type="http://schemas.openxmlformats.org/officeDocument/2006/relationships/image" Target="../media/image91.emf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7" Type="http://schemas.openxmlformats.org/officeDocument/2006/relationships/image" Target="../media/image76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.xml"/><Relationship Id="rId6" Type="http://schemas.openxmlformats.org/officeDocument/2006/relationships/image" Target="../media/image75.png"/><Relationship Id="rId5" Type="http://schemas.openxmlformats.org/officeDocument/2006/relationships/image" Target="../media/image74.emf"/><Relationship Id="rId4" Type="http://schemas.openxmlformats.org/officeDocument/2006/relationships/oleObject" Target="../embeddings/oleObject2.bin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4.emf"/><Relationship Id="rId2" Type="http://schemas.openxmlformats.org/officeDocument/2006/relationships/image" Target="../media/image93.emf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4.xml"/><Relationship Id="rId7" Type="http://schemas.openxmlformats.org/officeDocument/2006/relationships/image" Target="../media/image96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6.xml"/><Relationship Id="rId6" Type="http://schemas.openxmlformats.org/officeDocument/2006/relationships/image" Target="../media/image95.png"/><Relationship Id="rId5" Type="http://schemas.openxmlformats.org/officeDocument/2006/relationships/image" Target="../media/image74.emf"/><Relationship Id="rId4" Type="http://schemas.openxmlformats.org/officeDocument/2006/relationships/oleObject" Target="../embeddings/oleObject4.bin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8.png"/><Relationship Id="rId2" Type="http://schemas.openxmlformats.org/officeDocument/2006/relationships/image" Target="../media/image97.png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7.png"/><Relationship Id="rId2" Type="http://schemas.openxmlformats.org/officeDocument/2006/relationships/image" Target="../media/image99.png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0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03.png"/><Relationship Id="rId5" Type="http://schemas.openxmlformats.org/officeDocument/2006/relationships/image" Target="../media/image102.png"/><Relationship Id="rId4" Type="http://schemas.openxmlformats.org/officeDocument/2006/relationships/image" Target="../media/image101.png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4.png"/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package" Target="../embeddings/Microsoft_Excel_Worksheet1.xlsx"/><Relationship Id="rId3" Type="http://schemas.openxmlformats.org/officeDocument/2006/relationships/notesSlide" Target="../notesSlides/notesSlide16.xml"/><Relationship Id="rId7" Type="http://schemas.openxmlformats.org/officeDocument/2006/relationships/image" Target="../media/image105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7.xml"/><Relationship Id="rId6" Type="http://schemas.openxmlformats.org/officeDocument/2006/relationships/package" Target="../embeddings/Microsoft_Excel_Worksheet.xlsx"/><Relationship Id="rId5" Type="http://schemas.openxmlformats.org/officeDocument/2006/relationships/image" Target="../media/image74.emf"/><Relationship Id="rId10" Type="http://schemas.openxmlformats.org/officeDocument/2006/relationships/package" Target="../embeddings/Microsoft_Excel_Worksheet2.xlsx"/><Relationship Id="rId4" Type="http://schemas.openxmlformats.org/officeDocument/2006/relationships/oleObject" Target="../embeddings/oleObject4.bin"/><Relationship Id="rId9" Type="http://schemas.openxmlformats.org/officeDocument/2006/relationships/image" Target="../media/image106.emf"/></Relationships>
</file>

<file path=ppt/slides/_rels/slide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9.emf"/><Relationship Id="rId3" Type="http://schemas.openxmlformats.org/officeDocument/2006/relationships/notesSlide" Target="../notesSlides/notesSlide17.xml"/><Relationship Id="rId7" Type="http://schemas.openxmlformats.org/officeDocument/2006/relationships/image" Target="../media/image108.emf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8.xml"/><Relationship Id="rId6" Type="http://schemas.openxmlformats.org/officeDocument/2006/relationships/image" Target="../media/image107.emf"/><Relationship Id="rId5" Type="http://schemas.openxmlformats.org/officeDocument/2006/relationships/image" Target="../media/image74.emf"/><Relationship Id="rId4" Type="http://schemas.openxmlformats.org/officeDocument/2006/relationships/oleObject" Target="../embeddings/oleObject13.bin"/><Relationship Id="rId9" Type="http://schemas.openxmlformats.org/officeDocument/2006/relationships/image" Target="../media/image110.emf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2.png"/><Relationship Id="rId2" Type="http://schemas.openxmlformats.org/officeDocument/2006/relationships/image" Target="../media/image111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14.png"/><Relationship Id="rId4" Type="http://schemas.openxmlformats.org/officeDocument/2006/relationships/image" Target="../media/image113.png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5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7" Type="http://schemas.openxmlformats.org/officeDocument/2006/relationships/image" Target="../media/image78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4.xml"/><Relationship Id="rId6" Type="http://schemas.openxmlformats.org/officeDocument/2006/relationships/image" Target="../media/image77.png"/><Relationship Id="rId5" Type="http://schemas.openxmlformats.org/officeDocument/2006/relationships/image" Target="../media/image74.emf"/><Relationship Id="rId4" Type="http://schemas.openxmlformats.org/officeDocument/2006/relationships/oleObject" Target="../embeddings/oleObject3.bin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6.png"/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7.png"/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8.png"/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8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9.xml"/><Relationship Id="rId5" Type="http://schemas.openxmlformats.org/officeDocument/2006/relationships/image" Target="../media/image74.emf"/><Relationship Id="rId4" Type="http://schemas.openxmlformats.org/officeDocument/2006/relationships/oleObject" Target="../embeddings/oleObject4.bin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9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0.xml"/><Relationship Id="rId5" Type="http://schemas.openxmlformats.org/officeDocument/2006/relationships/image" Target="../media/image74.emf"/><Relationship Id="rId4" Type="http://schemas.openxmlformats.org/officeDocument/2006/relationships/oleObject" Target="../embeddings/oleObject14.bin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0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1.xml"/><Relationship Id="rId5" Type="http://schemas.openxmlformats.org/officeDocument/2006/relationships/image" Target="../media/image74.emf"/><Relationship Id="rId4" Type="http://schemas.openxmlformats.org/officeDocument/2006/relationships/oleObject" Target="../embeddings/oleObject4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7" Type="http://schemas.openxmlformats.org/officeDocument/2006/relationships/image" Target="../media/image80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5.xml"/><Relationship Id="rId6" Type="http://schemas.openxmlformats.org/officeDocument/2006/relationships/image" Target="../media/image79.png"/><Relationship Id="rId5" Type="http://schemas.openxmlformats.org/officeDocument/2006/relationships/image" Target="../media/image74.emf"/><Relationship Id="rId4" Type="http://schemas.openxmlformats.org/officeDocument/2006/relationships/oleObject" Target="../embeddings/oleObject4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6.xml"/><Relationship Id="rId6" Type="http://schemas.openxmlformats.org/officeDocument/2006/relationships/image" Target="../media/image80.png"/><Relationship Id="rId5" Type="http://schemas.openxmlformats.org/officeDocument/2006/relationships/image" Target="../media/image74.emf"/><Relationship Id="rId4" Type="http://schemas.openxmlformats.org/officeDocument/2006/relationships/oleObject" Target="../embeddings/oleObject5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7.xml"/><Relationship Id="rId6" Type="http://schemas.openxmlformats.org/officeDocument/2006/relationships/image" Target="../media/image81.png"/><Relationship Id="rId5" Type="http://schemas.openxmlformats.org/officeDocument/2006/relationships/image" Target="../media/image74.emf"/><Relationship Id="rId4" Type="http://schemas.openxmlformats.org/officeDocument/2006/relationships/oleObject" Target="../embeddings/oleObject6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8.xml"/><Relationship Id="rId6" Type="http://schemas.openxmlformats.org/officeDocument/2006/relationships/image" Target="../media/image81.png"/><Relationship Id="rId5" Type="http://schemas.openxmlformats.org/officeDocument/2006/relationships/image" Target="../media/image74.emf"/><Relationship Id="rId4" Type="http://schemas.openxmlformats.org/officeDocument/2006/relationships/oleObject" Target="../embeddings/oleObject7.bin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7" Type="http://schemas.openxmlformats.org/officeDocument/2006/relationships/image" Target="../media/image82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9.xml"/><Relationship Id="rId6" Type="http://schemas.openxmlformats.org/officeDocument/2006/relationships/image" Target="../media/image81.png"/><Relationship Id="rId5" Type="http://schemas.openxmlformats.org/officeDocument/2006/relationships/image" Target="../media/image74.emf"/><Relationship Id="rId4" Type="http://schemas.openxmlformats.org/officeDocument/2006/relationships/oleObject" Target="../embeddings/oleObject8.bin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0.xml"/><Relationship Id="rId6" Type="http://schemas.openxmlformats.org/officeDocument/2006/relationships/image" Target="../media/image78.png"/><Relationship Id="rId5" Type="http://schemas.openxmlformats.org/officeDocument/2006/relationships/image" Target="../media/image74.emf"/><Relationship Id="rId4" Type="http://schemas.openxmlformats.org/officeDocument/2006/relationships/oleObject" Target="../embeddings/oleObject2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783E0F57-89E1-4CD1-941E-530065FCE5C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783E0F57-89E1-4CD1-941E-530065FCE5C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7136E90A-9756-4DAA-A5C0-5BBB46DDE1BD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4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7B49B9A8-7362-4FFB-9503-B3F42D92B70A}"/>
              </a:ext>
            </a:extLst>
          </p:cNvPr>
          <p:cNvSpPr txBox="1">
            <a:spLocks/>
          </p:cNvSpPr>
          <p:nvPr/>
        </p:nvSpPr>
        <p:spPr>
          <a:xfrm>
            <a:off x="915955" y="4904627"/>
            <a:ext cx="4465469" cy="69788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 defTabSz="609585" rtl="0" eaLnBrk="1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4267" kern="1200">
                <a:solidFill>
                  <a:srgbClr val="7C878E"/>
                </a:solidFill>
                <a:latin typeface="+mn-lt"/>
                <a:ea typeface="+mn-ea"/>
                <a:cs typeface="+mn-cs"/>
              </a:defRPr>
            </a:lvl1pPr>
            <a:lvl2pPr marL="609585" indent="-609585" algn="l" defTabSz="609585" rtl="0" eaLnBrk="1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Font typeface="Arial" panose="020B0604020202020204" pitchFamily="34" charset="0"/>
              <a:buChar char="•"/>
              <a:defRPr sz="4267" kern="1200" baseline="0">
                <a:solidFill>
                  <a:srgbClr val="7C878E"/>
                </a:solidFill>
                <a:latin typeface="+mn-lt"/>
                <a:ea typeface="+mn-ea"/>
                <a:cs typeface="+mn-cs"/>
              </a:defRPr>
            </a:lvl2pPr>
            <a:lvl3pPr marL="1219170" indent="-609585" algn="l" defTabSz="609585" rtl="0" eaLnBrk="1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Font typeface="Courier New" panose="02070309020205020404" pitchFamily="49" charset="0"/>
              <a:buChar char="o"/>
              <a:defRPr sz="3733" kern="1200">
                <a:solidFill>
                  <a:srgbClr val="7C878E"/>
                </a:solidFill>
                <a:latin typeface="+mn-lt"/>
                <a:ea typeface="+mn-ea"/>
                <a:cs typeface="+mn-cs"/>
              </a:defRPr>
            </a:lvl3pPr>
            <a:lvl4pPr marL="1828754" indent="-609585" algn="l" defTabSz="609585" rtl="0" eaLnBrk="1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Font typeface="Wingdings" panose="05000000000000000000" pitchFamily="2" charset="2"/>
              <a:buChar char="§"/>
              <a:defRPr sz="3200" kern="1200">
                <a:solidFill>
                  <a:srgbClr val="7C878E"/>
                </a:solidFill>
                <a:latin typeface="+mn-lt"/>
                <a:ea typeface="+mn-ea"/>
                <a:cs typeface="+mn-cs"/>
              </a:defRPr>
            </a:lvl4pPr>
            <a:lvl5pPr marL="2438339" indent="-609585" algn="l" defTabSz="609585" rtl="0" eaLnBrk="1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Font typeface="Arial" panose="020B0604020202020204" pitchFamily="34" charset="0"/>
              <a:buChar char="-"/>
              <a:defRPr sz="3200" kern="1200">
                <a:solidFill>
                  <a:srgbClr val="7C878E"/>
                </a:solidFill>
                <a:latin typeface="+mn-lt"/>
                <a:ea typeface="+mn-ea"/>
                <a:cs typeface="+mn-cs"/>
              </a:defRPr>
            </a:lvl5pPr>
            <a:lvl6pPr marL="1950671" indent="0" algn="l" defTabSz="609585" rtl="0" eaLnBrk="1" latinLnBrk="0" hangingPunct="1">
              <a:lnSpc>
                <a:spcPct val="140000"/>
              </a:lnSpc>
              <a:spcBef>
                <a:spcPts val="32"/>
              </a:spcBef>
              <a:buFont typeface="Arial" panose="020B0604020202020204" pitchFamily="34" charset="0"/>
              <a:buNone/>
              <a:defRPr sz="3733" kern="1200">
                <a:solidFill>
                  <a:srgbClr val="7C878E"/>
                </a:solidFill>
                <a:latin typeface="+mn-lt"/>
                <a:ea typeface="+mn-ea"/>
                <a:cs typeface="+mn-cs"/>
              </a:defRPr>
            </a:lvl6pPr>
            <a:lvl7pPr marL="2316422" indent="0" algn="l" defTabSz="609585" rtl="0" eaLnBrk="1" latinLnBrk="0" hangingPunct="1">
              <a:lnSpc>
                <a:spcPct val="140000"/>
              </a:lnSpc>
              <a:spcBef>
                <a:spcPts val="32"/>
              </a:spcBef>
              <a:buFont typeface="Arial"/>
              <a:buNone/>
              <a:defRPr sz="3733" kern="1200" baseline="0">
                <a:solidFill>
                  <a:srgbClr val="7C878E"/>
                </a:solidFill>
                <a:latin typeface="+mn-lt"/>
                <a:ea typeface="+mn-ea"/>
                <a:cs typeface="+mn-cs"/>
              </a:defRPr>
            </a:lvl7pPr>
            <a:lvl8pPr marL="2682173" indent="0" algn="l" defTabSz="609585" rtl="0" eaLnBrk="1" latinLnBrk="0" hangingPunct="1">
              <a:lnSpc>
                <a:spcPct val="140000"/>
              </a:lnSpc>
              <a:spcBef>
                <a:spcPts val="32"/>
              </a:spcBef>
              <a:buFont typeface="Arial"/>
              <a:buNone/>
              <a:defRPr sz="3733" kern="1200" baseline="0">
                <a:solidFill>
                  <a:srgbClr val="7C878E"/>
                </a:solidFill>
                <a:latin typeface="+mn-lt"/>
                <a:ea typeface="+mn-ea"/>
                <a:cs typeface="+mn-cs"/>
              </a:defRPr>
            </a:lvl8pPr>
            <a:lvl9pPr marL="3047924" indent="0" algn="l" defTabSz="609585" rtl="0" eaLnBrk="1" latinLnBrk="0" hangingPunct="1">
              <a:lnSpc>
                <a:spcPct val="140000"/>
              </a:lnSpc>
              <a:spcBef>
                <a:spcPts val="32"/>
              </a:spcBef>
              <a:buFont typeface="Arial" panose="020B0604020202020204" pitchFamily="34" charset="0"/>
              <a:buNone/>
              <a:defRPr lang="en-US" sz="3733" kern="1200" baseline="0" dirty="0" smtClean="0">
                <a:solidFill>
                  <a:srgbClr val="7C878E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spcBef>
                <a:spcPts val="200"/>
              </a:spcBef>
            </a:pPr>
            <a:r>
              <a:rPr lang="en-US" sz="1400" b="1" i="1" dirty="0">
                <a:solidFill>
                  <a:schemeClr val="tx1"/>
                </a:solidFill>
                <a:cs typeface="Arial"/>
              </a:rPr>
              <a:t>Zhen, Dann, Catherine, Joon, Magnus, Jessica</a:t>
            </a:r>
          </a:p>
          <a:p>
            <a:pPr>
              <a:spcBef>
                <a:spcPts val="200"/>
              </a:spcBef>
            </a:pPr>
            <a:r>
              <a:rPr lang="en-US" sz="1400" b="1" i="1" dirty="0">
                <a:solidFill>
                  <a:schemeClr val="tx1"/>
                </a:solidFill>
                <a:cs typeface="Arial"/>
              </a:rPr>
              <a:t>Mar 13, 2023</a:t>
            </a:r>
          </a:p>
          <a:p>
            <a:pPr algn="l">
              <a:spcBef>
                <a:spcPts val="200"/>
              </a:spcBef>
            </a:pPr>
            <a:endParaRPr lang="en-US" sz="1400" b="1" i="1" dirty="0">
              <a:solidFill>
                <a:schemeClr val="tx1"/>
              </a:solidFill>
              <a:cs typeface="Arial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CF1C6CDA-96EF-4992-9AF2-6F15731BF403}"/>
              </a:ext>
            </a:extLst>
          </p:cNvPr>
          <p:cNvSpPr txBox="1"/>
          <p:nvPr/>
        </p:nvSpPr>
        <p:spPr>
          <a:xfrm>
            <a:off x="737825" y="2648080"/>
            <a:ext cx="1060311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600" b="1" dirty="0">
                <a:solidFill>
                  <a:schemeClr val="tx2">
                    <a:lumMod val="50000"/>
                  </a:schemeClr>
                </a:solidFill>
                <a:latin typeface="Arial"/>
                <a:cs typeface="Arial"/>
              </a:rPr>
              <a:t>3</a:t>
            </a:r>
            <a:r>
              <a:rPr lang="en-US" sz="3600" b="1" baseline="30000" dirty="0">
                <a:solidFill>
                  <a:schemeClr val="tx2">
                    <a:lumMod val="50000"/>
                  </a:schemeClr>
                </a:solidFill>
                <a:latin typeface="Arial"/>
                <a:cs typeface="Arial"/>
              </a:rPr>
              <a:t>rd</a:t>
            </a:r>
            <a:r>
              <a:rPr lang="en-US" sz="3600" b="1" dirty="0">
                <a:solidFill>
                  <a:schemeClr val="tx2">
                    <a:lumMod val="50000"/>
                  </a:schemeClr>
                </a:solidFill>
                <a:latin typeface="Arial"/>
                <a:cs typeface="Arial"/>
              </a:rPr>
              <a:t> </a:t>
            </a:r>
            <a:r>
              <a:rPr lang="en-US" sz="3600" b="1" dirty="0" err="1">
                <a:solidFill>
                  <a:schemeClr val="tx2">
                    <a:lumMod val="50000"/>
                  </a:schemeClr>
                </a:solidFill>
                <a:latin typeface="Arial"/>
                <a:cs typeface="Arial"/>
              </a:rPr>
              <a:t>RNAseq</a:t>
            </a:r>
            <a:r>
              <a:rPr lang="en-US" sz="3600" b="1" dirty="0">
                <a:solidFill>
                  <a:schemeClr val="tx2">
                    <a:lumMod val="50000"/>
                  </a:schemeClr>
                </a:solidFill>
                <a:latin typeface="Arial"/>
                <a:cs typeface="Arial"/>
              </a:rPr>
              <a:t> for HTT Splicing Enhancers</a:t>
            </a:r>
          </a:p>
          <a:p>
            <a:pPr algn="ctr"/>
            <a:endParaRPr lang="en-US" sz="3600" b="1" dirty="0">
              <a:solidFill>
                <a:schemeClr val="tx2">
                  <a:lumMod val="50000"/>
                </a:schemeClr>
              </a:solidFill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42309565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>
            <a:extLst>
              <a:ext uri="{FF2B5EF4-FFF2-40B4-BE49-F238E27FC236}">
                <a16:creationId xmlns:a16="http://schemas.microsoft.com/office/drawing/2014/main" id="{71843833-56D3-4FC1-AEEA-4056C71CF16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29" imgH="627" progId="TCLayout.ActiveDocument.1">
                  <p:embed/>
                </p:oleObj>
              </mc:Choice>
              <mc:Fallback>
                <p:oleObj name="think-cell Slide" r:id="rId4" imgW="629" imgH="627" progId="TCLayout.ActiveDocument.1">
                  <p:embed/>
                  <p:pic>
                    <p:nvPicPr>
                      <p:cNvPr id="21" name="Object 20" hidden="1">
                        <a:extLst>
                          <a:ext uri="{FF2B5EF4-FFF2-40B4-BE49-F238E27FC236}">
                            <a16:creationId xmlns:a16="http://schemas.microsoft.com/office/drawing/2014/main" id="{71843833-56D3-4FC1-AEEA-4056C71CF1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0" name="Title 1"/>
          <p:cNvSpPr txBox="1">
            <a:spLocks/>
          </p:cNvSpPr>
          <p:nvPr/>
        </p:nvSpPr>
        <p:spPr>
          <a:xfrm>
            <a:off x="4233" y="0"/>
            <a:ext cx="12187767" cy="783884"/>
          </a:xfrm>
          <a:prstGeom prst="rect">
            <a:avLst/>
          </a:prstGeom>
          <a:solidFill>
            <a:srgbClr val="013952">
              <a:alpha val="75000"/>
            </a:srgbClr>
          </a:solidFill>
        </p:spPr>
        <p:txBody>
          <a:bodyPr lIns="48768" anchor="ctr"/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52388" marR="0" lvl="0" indent="0" algn="ctr" defTabSz="609555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Narrow" panose="020B0606020202030204" pitchFamily="34" charset="0"/>
              <a:ea typeface="+mj-ea"/>
              <a:cs typeface="+mj-cs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98625F07-A3CD-7A1B-CD7C-AD67FA01B83C}"/>
              </a:ext>
            </a:extLst>
          </p:cNvPr>
          <p:cNvSpPr txBox="1"/>
          <p:nvPr/>
        </p:nvSpPr>
        <p:spPr>
          <a:xfrm>
            <a:off x="3048000" y="3247962"/>
            <a:ext cx="6096000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b="1" i="0" dirty="0">
                <a:solidFill>
                  <a:srgbClr val="424242"/>
                </a:solidFill>
                <a:effectLst/>
                <a:latin typeface="Segoe UI" panose="020F0502020204030204" pitchFamily="34" charset="0"/>
              </a:rPr>
              <a:t>[NGS One]/TST12086: </a:t>
            </a:r>
          </a:p>
          <a:p>
            <a:r>
              <a:rPr lang="en-US" b="0" i="0" dirty="0">
                <a:solidFill>
                  <a:srgbClr val="202020"/>
                </a:solidFill>
                <a:effectLst/>
                <a:latin typeface="Helvetica" pitchFamily="2" charset="0"/>
              </a:rPr>
              <a:t>Data for TST12086 is ready.</a:t>
            </a:r>
          </a:p>
          <a:p>
            <a:endParaRPr lang="en-US" dirty="0">
              <a:solidFill>
                <a:srgbClr val="202020"/>
              </a:solidFill>
              <a:latin typeface="Helvetica" pitchFamily="2" charset="0"/>
            </a:endParaRPr>
          </a:p>
          <a:p>
            <a:r>
              <a:rPr lang="en-US" b="1" i="0" dirty="0">
                <a:solidFill>
                  <a:srgbClr val="424242"/>
                </a:solidFill>
                <a:effectLst/>
                <a:latin typeface="Segoe UI" panose="020B0502040204020203" pitchFamily="34" charset="0"/>
              </a:rPr>
              <a:t>Ravi Teja</a:t>
            </a:r>
            <a:r>
              <a:rPr lang="en-US" b="0" i="0" dirty="0">
                <a:solidFill>
                  <a:srgbClr val="202020"/>
                </a:solidFill>
                <a:effectLst/>
                <a:latin typeface="Helvetica" pitchFamily="2" charset="0"/>
              </a:rPr>
              <a:t> 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71658224"/>
      </p:ext>
    </p:extLst>
  </p:cSld>
  <p:clrMapOvr>
    <a:masterClrMapping/>
  </p:clrMapOvr>
  <p:transition>
    <p:fade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>
            <a:extLst>
              <a:ext uri="{FF2B5EF4-FFF2-40B4-BE49-F238E27FC236}">
                <a16:creationId xmlns:a16="http://schemas.microsoft.com/office/drawing/2014/main" id="{71843833-56D3-4FC1-AEEA-4056C71CF16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29" imgH="627" progId="TCLayout.ActiveDocument.1">
                  <p:embed/>
                </p:oleObj>
              </mc:Choice>
              <mc:Fallback>
                <p:oleObj name="think-cell Slide" r:id="rId4" imgW="629" imgH="627" progId="TCLayout.ActiveDocument.1">
                  <p:embed/>
                  <p:pic>
                    <p:nvPicPr>
                      <p:cNvPr id="21" name="Object 20" hidden="1">
                        <a:extLst>
                          <a:ext uri="{FF2B5EF4-FFF2-40B4-BE49-F238E27FC236}">
                            <a16:creationId xmlns:a16="http://schemas.microsoft.com/office/drawing/2014/main" id="{71843833-56D3-4FC1-AEEA-4056C71CF1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0" name="Title 1"/>
          <p:cNvSpPr txBox="1">
            <a:spLocks/>
          </p:cNvSpPr>
          <p:nvPr/>
        </p:nvSpPr>
        <p:spPr>
          <a:xfrm>
            <a:off x="4233" y="0"/>
            <a:ext cx="12187767" cy="783884"/>
          </a:xfrm>
          <a:prstGeom prst="rect">
            <a:avLst/>
          </a:prstGeom>
          <a:solidFill>
            <a:srgbClr val="013952">
              <a:alpha val="75000"/>
            </a:srgbClr>
          </a:solidFill>
        </p:spPr>
        <p:txBody>
          <a:bodyPr lIns="48768" anchor="ctr"/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52388" marR="0" lvl="0" indent="0" algn="ctr" defTabSz="609555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Narrow" panose="020B0606020202030204" pitchFamily="34" charset="0"/>
              <a:ea typeface="+mj-ea"/>
              <a:cs typeface="+mj-cs"/>
            </a:endParaRPr>
          </a:p>
        </p:txBody>
      </p:sp>
      <p:pic>
        <p:nvPicPr>
          <p:cNvPr id="4" name="Picture 3" descr="Text&#10;&#10;Description automatically generated">
            <a:extLst>
              <a:ext uri="{FF2B5EF4-FFF2-40B4-BE49-F238E27FC236}">
                <a16:creationId xmlns:a16="http://schemas.microsoft.com/office/drawing/2014/main" id="{EFF3BCFC-1EED-360D-D295-764634C429D2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76929" y="3560535"/>
            <a:ext cx="5461000" cy="723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84770925"/>
      </p:ext>
    </p:extLst>
  </p:cSld>
  <p:clrMapOvr>
    <a:masterClrMapping/>
  </p:clrMapOvr>
  <p:transition>
    <p:fade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>
            <a:extLst>
              <a:ext uri="{FF2B5EF4-FFF2-40B4-BE49-F238E27FC236}">
                <a16:creationId xmlns:a16="http://schemas.microsoft.com/office/drawing/2014/main" id="{71843833-56D3-4FC1-AEEA-4056C71CF16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29" imgH="627" progId="TCLayout.ActiveDocument.1">
                  <p:embed/>
                </p:oleObj>
              </mc:Choice>
              <mc:Fallback>
                <p:oleObj name="think-cell Slide" r:id="rId4" imgW="629" imgH="627" progId="TCLayout.ActiveDocument.1">
                  <p:embed/>
                  <p:pic>
                    <p:nvPicPr>
                      <p:cNvPr id="21" name="Object 20" hidden="1">
                        <a:extLst>
                          <a:ext uri="{FF2B5EF4-FFF2-40B4-BE49-F238E27FC236}">
                            <a16:creationId xmlns:a16="http://schemas.microsoft.com/office/drawing/2014/main" id="{71843833-56D3-4FC1-AEEA-4056C71CF1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0" name="Title 1"/>
          <p:cNvSpPr txBox="1">
            <a:spLocks/>
          </p:cNvSpPr>
          <p:nvPr/>
        </p:nvSpPr>
        <p:spPr>
          <a:xfrm>
            <a:off x="0" y="0"/>
            <a:ext cx="12187767" cy="783884"/>
          </a:xfrm>
          <a:prstGeom prst="rect">
            <a:avLst/>
          </a:prstGeom>
          <a:solidFill>
            <a:srgbClr val="013952">
              <a:alpha val="75000"/>
            </a:srgbClr>
          </a:solidFill>
        </p:spPr>
        <p:txBody>
          <a:bodyPr lIns="48768" anchor="ctr"/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spcBef>
                <a:spcPts val="200"/>
              </a:spcBef>
            </a:pPr>
            <a:r>
              <a:rPr lang="en-US" sz="3600" dirty="0">
                <a:solidFill>
                  <a:schemeClr val="bg1"/>
                </a:solidFill>
                <a:latin typeface="Arial Narrow" panose="020B0604020202020204" pitchFamily="34" charset="0"/>
                <a:ea typeface="Apple Symbols" panose="02000000000000000000" pitchFamily="2" charset="-79"/>
                <a:cs typeface="Arial Narrow" panose="020B0604020202020204" pitchFamily="34" charset="0"/>
              </a:rPr>
              <a:t>Main Goals of the </a:t>
            </a:r>
            <a:r>
              <a:rPr lang="en-US" sz="3600" dirty="0" err="1">
                <a:solidFill>
                  <a:schemeClr val="bg1"/>
                </a:solidFill>
                <a:latin typeface="Arial Narrow" panose="020B0604020202020204" pitchFamily="34" charset="0"/>
                <a:ea typeface="Apple Symbols" panose="02000000000000000000" pitchFamily="2" charset="-79"/>
                <a:cs typeface="Arial Narrow" panose="020B0604020202020204" pitchFamily="34" charset="0"/>
              </a:rPr>
              <a:t>RNAseq</a:t>
            </a:r>
            <a:endParaRPr lang="en-US" sz="3600" dirty="0">
              <a:solidFill>
                <a:schemeClr val="bg1"/>
              </a:solidFill>
              <a:latin typeface="Arial Narrow" panose="020B0604020202020204" pitchFamily="34" charset="0"/>
              <a:ea typeface="Apple Symbols" panose="02000000000000000000" pitchFamily="2" charset="-79"/>
              <a:cs typeface="Arial Narrow" panose="020B0604020202020204" pitchFamily="34" charset="0"/>
            </a:endParaRPr>
          </a:p>
        </p:txBody>
      </p:sp>
      <p:sp>
        <p:nvSpPr>
          <p:cNvPr id="2" name="Subtitle 2">
            <a:extLst>
              <a:ext uri="{FF2B5EF4-FFF2-40B4-BE49-F238E27FC236}">
                <a16:creationId xmlns:a16="http://schemas.microsoft.com/office/drawing/2014/main" id="{9A23BA16-3DB5-0ACA-B451-84B3DF0F4121}"/>
              </a:ext>
            </a:extLst>
          </p:cNvPr>
          <p:cNvSpPr txBox="1">
            <a:spLocks/>
          </p:cNvSpPr>
          <p:nvPr/>
        </p:nvSpPr>
        <p:spPr>
          <a:xfrm>
            <a:off x="126663" y="1104152"/>
            <a:ext cx="11527456" cy="4649695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marL="160863" indent="-160863" algn="l" defTabSz="609585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None/>
              <a:defRPr sz="2667" b="0" i="0" kern="120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160863" indent="-160863"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Char char="•"/>
              <a:tabLst/>
              <a:defRPr lang="en-US" sz="2400" b="0" i="0" kern="1200" baseline="0" dirty="0" smtClean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2pPr>
            <a:lvl3pPr marL="459306" indent="-158492"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System Font Regular"/>
              <a:buChar char="⁃"/>
              <a:tabLst/>
              <a:defRPr sz="2400" b="0" i="0" kern="120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3pPr>
            <a:lvl4pPr marL="764098" indent="-158492"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System Font Regular"/>
              <a:buChar char="◦"/>
              <a:tabLst/>
              <a:defRPr sz="2400" b="0" i="0" kern="120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4pPr>
            <a:lvl5pPr marL="1066773" indent="-148163"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System Font Regular"/>
              <a:buChar char="‣"/>
              <a:tabLst/>
              <a:defRPr sz="2400" b="0" i="0" kern="120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5pPr>
            <a:lvl6pPr marL="1950671" indent="0" algn="l" defTabSz="609585" rtl="0" eaLnBrk="1" latinLnBrk="0" hangingPunct="1">
              <a:lnSpc>
                <a:spcPct val="140000"/>
              </a:lnSpc>
              <a:spcBef>
                <a:spcPts val="32"/>
              </a:spcBef>
              <a:buFont typeface="Arial" panose="020B0604020202020204" pitchFamily="34" charset="0"/>
              <a:buNone/>
              <a:defRPr sz="3733" kern="1200">
                <a:solidFill>
                  <a:srgbClr val="7C878E"/>
                </a:solidFill>
                <a:latin typeface="+mn-lt"/>
                <a:ea typeface="+mn-ea"/>
                <a:cs typeface="+mn-cs"/>
              </a:defRPr>
            </a:lvl6pPr>
            <a:lvl7pPr marL="2316422" indent="0" algn="l" defTabSz="609585" rtl="0" eaLnBrk="1" latinLnBrk="0" hangingPunct="1">
              <a:lnSpc>
                <a:spcPct val="140000"/>
              </a:lnSpc>
              <a:spcBef>
                <a:spcPts val="32"/>
              </a:spcBef>
              <a:buFont typeface="Arial"/>
              <a:buNone/>
              <a:defRPr sz="3733" kern="1200" baseline="0">
                <a:solidFill>
                  <a:srgbClr val="7C878E"/>
                </a:solidFill>
                <a:latin typeface="+mn-lt"/>
                <a:ea typeface="+mn-ea"/>
                <a:cs typeface="+mn-cs"/>
              </a:defRPr>
            </a:lvl7pPr>
            <a:lvl8pPr marL="2682173" indent="0" algn="l" defTabSz="609585" rtl="0" eaLnBrk="1" latinLnBrk="0" hangingPunct="1">
              <a:lnSpc>
                <a:spcPct val="140000"/>
              </a:lnSpc>
              <a:spcBef>
                <a:spcPts val="32"/>
              </a:spcBef>
              <a:buFont typeface="Arial"/>
              <a:buNone/>
              <a:defRPr sz="3733" kern="1200" baseline="0">
                <a:solidFill>
                  <a:srgbClr val="7C878E"/>
                </a:solidFill>
                <a:latin typeface="+mn-lt"/>
                <a:ea typeface="+mn-ea"/>
                <a:cs typeface="+mn-cs"/>
              </a:defRPr>
            </a:lvl8pPr>
            <a:lvl9pPr marL="3047924" indent="0" algn="l" defTabSz="609585" rtl="0" eaLnBrk="1" latinLnBrk="0" hangingPunct="1">
              <a:lnSpc>
                <a:spcPct val="140000"/>
              </a:lnSpc>
              <a:spcBef>
                <a:spcPts val="32"/>
              </a:spcBef>
              <a:buFont typeface="Arial" panose="020B0604020202020204" pitchFamily="34" charset="0"/>
              <a:buNone/>
              <a:defRPr lang="en-US" sz="3733" kern="1200" baseline="0" dirty="0" smtClean="0">
                <a:solidFill>
                  <a:srgbClr val="7C878E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57200" indent="-457200">
              <a:spcBef>
                <a:spcPts val="200"/>
              </a:spcBef>
              <a:buClr>
                <a:srgbClr val="0432FF"/>
              </a:buClr>
              <a:buFont typeface="Wingdings" pitchFamily="2" charset="2"/>
              <a:buChar char="Ø"/>
            </a:pPr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Discover the compounds have fewer off-targets and but strong on-target effects</a:t>
            </a:r>
          </a:p>
          <a:p>
            <a:pPr marL="457200" indent="-457200">
              <a:spcBef>
                <a:spcPts val="200"/>
              </a:spcBef>
              <a:buClr>
                <a:srgbClr val="0432FF"/>
              </a:buClr>
              <a:buFont typeface="Wingdings" pitchFamily="2" charset="2"/>
              <a:buChar char="Ø"/>
            </a:pPr>
            <a:endParaRPr lang="en-US" sz="2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57200" indent="-457200">
              <a:spcBef>
                <a:spcPts val="200"/>
              </a:spcBef>
              <a:buClr>
                <a:srgbClr val="0432FF"/>
              </a:buClr>
              <a:buFont typeface="Wingdings" pitchFamily="2" charset="2"/>
              <a:buChar char="Ø"/>
            </a:pPr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Determine the common targets among the SM splicing enhancers</a:t>
            </a:r>
          </a:p>
          <a:p>
            <a:pPr marL="457200" indent="-457200">
              <a:spcBef>
                <a:spcPts val="200"/>
              </a:spcBef>
              <a:buClr>
                <a:srgbClr val="0432FF"/>
              </a:buClr>
              <a:buFont typeface="Wingdings" pitchFamily="2" charset="2"/>
              <a:buChar char="Ø"/>
            </a:pPr>
            <a:endParaRPr lang="en-US" sz="2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57200" indent="-457200">
              <a:spcBef>
                <a:spcPts val="200"/>
              </a:spcBef>
              <a:buClr>
                <a:srgbClr val="0432FF"/>
              </a:buClr>
              <a:buFont typeface="Wingdings" pitchFamily="2" charset="2"/>
              <a:buChar char="Ø"/>
            </a:pPr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Explore potential novel splicing targets</a:t>
            </a:r>
          </a:p>
          <a:p>
            <a:pPr marL="457200" indent="-457200">
              <a:spcBef>
                <a:spcPts val="200"/>
              </a:spcBef>
              <a:buClr>
                <a:srgbClr val="0432FF"/>
              </a:buClr>
              <a:buFont typeface="Wingdings" pitchFamily="2" charset="2"/>
              <a:buChar char="Ø"/>
            </a:pPr>
            <a:endParaRPr lang="en-US" sz="2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57200" indent="-457200">
              <a:spcBef>
                <a:spcPts val="200"/>
              </a:spcBef>
              <a:buClr>
                <a:srgbClr val="0432FF"/>
              </a:buClr>
              <a:buFont typeface="Wingdings" pitchFamily="2" charset="2"/>
              <a:buChar char="Ø"/>
            </a:pPr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Confirm the system difference between the different cell-systems (iPSC and NGN2) </a:t>
            </a:r>
          </a:p>
          <a:p>
            <a:pPr marL="457200" indent="-457200">
              <a:spcBef>
                <a:spcPts val="200"/>
              </a:spcBef>
              <a:buClr>
                <a:srgbClr val="0432FF"/>
              </a:buClr>
              <a:buFont typeface="Wingdings" pitchFamily="2" charset="2"/>
              <a:buChar char="Ø"/>
            </a:pPr>
            <a:endParaRPr lang="en-US" sz="2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57200" indent="-457200">
              <a:spcBef>
                <a:spcPts val="200"/>
              </a:spcBef>
              <a:buClr>
                <a:srgbClr val="0432FF"/>
              </a:buClr>
              <a:buFont typeface="Wingdings" pitchFamily="2" charset="2"/>
              <a:buChar char="Ø"/>
            </a:pPr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Seek the best procedure for cross-experiments/cross-cell-systems comparison        </a:t>
            </a:r>
          </a:p>
          <a:p>
            <a:pPr marL="0" indent="0">
              <a:spcBef>
                <a:spcPts val="200"/>
              </a:spcBef>
              <a:buClr>
                <a:srgbClr val="0432FF"/>
              </a:buClr>
            </a:pPr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marL="457200" indent="-457200">
              <a:spcBef>
                <a:spcPts val="200"/>
              </a:spcBef>
              <a:buClr>
                <a:srgbClr val="0432FF"/>
              </a:buClr>
              <a:buFont typeface="Wingdings" pitchFamily="2" charset="2"/>
              <a:buChar char="Ø"/>
            </a:pPr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Make robust and cost-efficient experimental design, </a:t>
            </a:r>
            <a:r>
              <a:rPr lang="en-US" sz="2200" i="1" dirty="0">
                <a:latin typeface="Arial" panose="020B0604020202020204" pitchFamily="34" charset="0"/>
                <a:cs typeface="Arial" panose="020B0604020202020204" pitchFamily="34" charset="0"/>
              </a:rPr>
              <a:t>QC etc.</a:t>
            </a:r>
          </a:p>
          <a:p>
            <a:pPr>
              <a:spcBef>
                <a:spcPts val="200"/>
              </a:spcBef>
            </a:pPr>
            <a:endParaRPr lang="en-US" sz="2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57200" indent="-457200">
              <a:spcBef>
                <a:spcPts val="200"/>
              </a:spcBef>
              <a:buFont typeface="Arial" panose="020B0604020202020204" pitchFamily="34" charset="0"/>
              <a:buAutoNum type="arabicParenR"/>
            </a:pPr>
            <a:endParaRPr lang="en-US" sz="2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Bef>
                <a:spcPts val="200"/>
              </a:spcBef>
            </a:pPr>
            <a:endParaRPr lang="en-US" sz="2200" dirty="0">
              <a:latin typeface="Arial" panose="020B0604020202020204" pitchFamily="34" charset="0"/>
            </a:endParaRPr>
          </a:p>
          <a:p>
            <a:pPr>
              <a:spcBef>
                <a:spcPts val="200"/>
              </a:spcBef>
            </a:pPr>
            <a:endParaRPr lang="en-US" sz="2200" dirty="0">
              <a:cs typeface="Arial"/>
            </a:endParaRPr>
          </a:p>
          <a:p>
            <a:pPr>
              <a:spcBef>
                <a:spcPts val="200"/>
              </a:spcBef>
            </a:pPr>
            <a:endParaRPr lang="en-US" sz="2200" dirty="0">
              <a:cs typeface="Arial"/>
            </a:endParaRPr>
          </a:p>
          <a:p>
            <a:pPr>
              <a:spcBef>
                <a:spcPts val="200"/>
              </a:spcBef>
            </a:pPr>
            <a:endParaRPr lang="en-US" sz="2200" dirty="0">
              <a:cs typeface="Arial"/>
            </a:endParaRPr>
          </a:p>
          <a:p>
            <a:pPr>
              <a:spcBef>
                <a:spcPts val="200"/>
              </a:spcBef>
            </a:pPr>
            <a:endParaRPr lang="en-US" sz="2200" dirty="0">
              <a:cs typeface="Arial"/>
            </a:endParaRPr>
          </a:p>
          <a:p>
            <a:pPr>
              <a:spcBef>
                <a:spcPts val="200"/>
              </a:spcBef>
            </a:pPr>
            <a:r>
              <a:rPr lang="en-US" sz="2200" dirty="0">
                <a:cs typeface="Arial"/>
              </a:rPr>
              <a:t>Sep 26, 2022</a:t>
            </a:r>
          </a:p>
          <a:p>
            <a:pPr>
              <a:spcBef>
                <a:spcPts val="200"/>
              </a:spcBef>
            </a:pPr>
            <a:endParaRPr lang="en-US" sz="2200" dirty="0">
              <a:latin typeface="Arial" panose="020B0604020202020204" pitchFamily="34" charset="0"/>
            </a:endParaRPr>
          </a:p>
          <a:p>
            <a:pPr>
              <a:spcBef>
                <a:spcPts val="200"/>
              </a:spcBef>
            </a:pPr>
            <a:r>
              <a:rPr lang="en-US" sz="2200" i="1" dirty="0">
                <a:latin typeface="Arial"/>
                <a:cs typeface="Arial"/>
              </a:rPr>
              <a:t>Zhen, Dann, Catherine, Joon, Magnus, Jessica</a:t>
            </a:r>
          </a:p>
        </p:txBody>
      </p:sp>
    </p:spTree>
    <p:extLst>
      <p:ext uri="{BB962C8B-B14F-4D97-AF65-F5344CB8AC3E}">
        <p14:creationId xmlns:p14="http://schemas.microsoft.com/office/powerpoint/2010/main" val="572963691"/>
      </p:ext>
    </p:extLst>
  </p:cSld>
  <p:clrMapOvr>
    <a:masterClrMapping/>
  </p:clrMapOvr>
  <p:transition>
    <p:fade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23A2B1F-1290-3245-A4F7-439D5A5FB2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3396" y="321605"/>
            <a:ext cx="11425211" cy="684355"/>
          </a:xfrm>
        </p:spPr>
        <p:txBody>
          <a:bodyPr/>
          <a:lstStyle/>
          <a:p>
            <a:r>
              <a:rPr lang="en-US" dirty="0"/>
              <a:t>RNA-seq Study #1</a:t>
            </a:r>
            <a:endParaRPr lang="en-US" sz="2000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2FAC6089-06DC-584A-A08A-6C668638E81B}"/>
              </a:ext>
            </a:extLst>
          </p:cNvPr>
          <p:cNvSpPr txBox="1"/>
          <p:nvPr/>
        </p:nvSpPr>
        <p:spPr>
          <a:xfrm>
            <a:off x="1068031" y="5309480"/>
            <a:ext cx="276699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sng" strike="noStrike" kern="1200" cap="none" spc="0" normalizeH="0" baseline="0" noProof="0" dirty="0">
                <a:ln>
                  <a:noFill/>
                </a:ln>
                <a:solidFill>
                  <a:srgbClr val="36383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7189L WT Cell lines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36383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PSCs (100K)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36383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GN2 (DIV14, 200K)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44CD0474-83FD-864D-9BEE-449A7EBAB2B4}"/>
              </a:ext>
            </a:extLst>
          </p:cNvPr>
          <p:cNvSpPr txBox="1"/>
          <p:nvPr/>
        </p:nvSpPr>
        <p:spPr>
          <a:xfrm>
            <a:off x="3835021" y="5309480"/>
            <a:ext cx="276699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sng" strike="noStrike" kern="1200" cap="none" spc="0" normalizeH="0" baseline="0" noProof="0" dirty="0">
                <a:ln>
                  <a:noFill/>
                </a:ln>
                <a:solidFill>
                  <a:srgbClr val="36383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reatment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36383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4hr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5A41D750-8F46-F94E-BF72-BE12397949BF}"/>
              </a:ext>
            </a:extLst>
          </p:cNvPr>
          <p:cNvSpPr txBox="1"/>
          <p:nvPr/>
        </p:nvSpPr>
        <p:spPr>
          <a:xfrm>
            <a:off x="5862946" y="5312018"/>
            <a:ext cx="276699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sng" strike="noStrike" kern="1200" cap="none" spc="0" normalizeH="0" baseline="0" noProof="0" dirty="0">
                <a:ln>
                  <a:noFill/>
                </a:ln>
                <a:solidFill>
                  <a:srgbClr val="36383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plicates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>
                <a:solidFill>
                  <a:srgbClr val="363838"/>
                </a:solidFill>
                <a:latin typeface="Arial" panose="020B0604020202020204"/>
              </a:rPr>
              <a:t>3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36383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biological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F2C7115E-AEAA-AB4F-A641-341F45079EFF}"/>
              </a:ext>
            </a:extLst>
          </p:cNvPr>
          <p:cNvSpPr txBox="1"/>
          <p:nvPr/>
        </p:nvSpPr>
        <p:spPr>
          <a:xfrm>
            <a:off x="8356979" y="5314418"/>
            <a:ext cx="276699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sng" strike="noStrike" kern="1200" cap="none" spc="0" normalizeH="0" baseline="0" noProof="0" dirty="0">
                <a:ln>
                  <a:noFill/>
                </a:ln>
                <a:solidFill>
                  <a:srgbClr val="36383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otal Samples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36383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14 (</a:t>
            </a:r>
            <a:r>
              <a:rPr lang="en-US" dirty="0">
                <a:solidFill>
                  <a:srgbClr val="363838"/>
                </a:solidFill>
                <a:latin typeface="Arial" panose="020B0604020202020204"/>
              </a:rPr>
              <a:t>9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36383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36383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pds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36383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+ DMSO)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E154C766-EB57-1143-837A-F6CDC4809B16}"/>
              </a:ext>
            </a:extLst>
          </p:cNvPr>
          <p:cNvSpPr txBox="1"/>
          <p:nvPr/>
        </p:nvSpPr>
        <p:spPr>
          <a:xfrm>
            <a:off x="383393" y="901864"/>
            <a:ext cx="1130167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sng" strike="noStrike" kern="1200" cap="none" spc="0" normalizeH="0" baseline="0" noProof="0" dirty="0">
                <a:ln>
                  <a:noFill/>
                </a:ln>
                <a:solidFill>
                  <a:srgbClr val="6DAD46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Goal: 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6DAD46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ranscriptome-wide RNA-seq of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432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Benchmark/competitor HTT splice modulators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6DAD46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nd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432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urrent BIIB lead compounds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6DAD46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n neurons and proliferating cell type for off-target profiling.</a:t>
            </a:r>
          </a:p>
        </p:txBody>
      </p:sp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CAF96F0E-BCC1-A825-5C93-02E21D6E248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73457446"/>
              </p:ext>
            </p:extLst>
          </p:nvPr>
        </p:nvGraphicFramePr>
        <p:xfrm>
          <a:off x="388471" y="1653117"/>
          <a:ext cx="11419354" cy="3322591"/>
        </p:xfrm>
        <a:graphic>
          <a:graphicData uri="http://schemas.openxmlformats.org/drawingml/2006/table">
            <a:tbl>
              <a:tblPr/>
              <a:tblGrid>
                <a:gridCol w="1004773">
                  <a:extLst>
                    <a:ext uri="{9D8B030D-6E8A-4147-A177-3AD203B41FA5}">
                      <a16:colId xmlns:a16="http://schemas.microsoft.com/office/drawing/2014/main" val="3063336145"/>
                    </a:ext>
                  </a:extLst>
                </a:gridCol>
                <a:gridCol w="889475">
                  <a:extLst>
                    <a:ext uri="{9D8B030D-6E8A-4147-A177-3AD203B41FA5}">
                      <a16:colId xmlns:a16="http://schemas.microsoft.com/office/drawing/2014/main" val="359247868"/>
                    </a:ext>
                  </a:extLst>
                </a:gridCol>
                <a:gridCol w="867051">
                  <a:extLst>
                    <a:ext uri="{9D8B030D-6E8A-4147-A177-3AD203B41FA5}">
                      <a16:colId xmlns:a16="http://schemas.microsoft.com/office/drawing/2014/main" val="2726247421"/>
                    </a:ext>
                  </a:extLst>
                </a:gridCol>
                <a:gridCol w="979170">
                  <a:extLst>
                    <a:ext uri="{9D8B030D-6E8A-4147-A177-3AD203B41FA5}">
                      <a16:colId xmlns:a16="http://schemas.microsoft.com/office/drawing/2014/main" val="4099095006"/>
                    </a:ext>
                  </a:extLst>
                </a:gridCol>
                <a:gridCol w="979170">
                  <a:extLst>
                    <a:ext uri="{9D8B030D-6E8A-4147-A177-3AD203B41FA5}">
                      <a16:colId xmlns:a16="http://schemas.microsoft.com/office/drawing/2014/main" val="1887377710"/>
                    </a:ext>
                  </a:extLst>
                </a:gridCol>
                <a:gridCol w="657763">
                  <a:extLst>
                    <a:ext uri="{9D8B030D-6E8A-4147-A177-3AD203B41FA5}">
                      <a16:colId xmlns:a16="http://schemas.microsoft.com/office/drawing/2014/main" val="3996013326"/>
                    </a:ext>
                  </a:extLst>
                </a:gridCol>
                <a:gridCol w="979170">
                  <a:extLst>
                    <a:ext uri="{9D8B030D-6E8A-4147-A177-3AD203B41FA5}">
                      <a16:colId xmlns:a16="http://schemas.microsoft.com/office/drawing/2014/main" val="3624062358"/>
                    </a:ext>
                  </a:extLst>
                </a:gridCol>
                <a:gridCol w="926848">
                  <a:extLst>
                    <a:ext uri="{9D8B030D-6E8A-4147-A177-3AD203B41FA5}">
                      <a16:colId xmlns:a16="http://schemas.microsoft.com/office/drawing/2014/main" val="2218329636"/>
                    </a:ext>
                  </a:extLst>
                </a:gridCol>
                <a:gridCol w="657763">
                  <a:extLst>
                    <a:ext uri="{9D8B030D-6E8A-4147-A177-3AD203B41FA5}">
                      <a16:colId xmlns:a16="http://schemas.microsoft.com/office/drawing/2014/main" val="4000456751"/>
                    </a:ext>
                  </a:extLst>
                </a:gridCol>
                <a:gridCol w="956746">
                  <a:extLst>
                    <a:ext uri="{9D8B030D-6E8A-4147-A177-3AD203B41FA5}">
                      <a16:colId xmlns:a16="http://schemas.microsoft.com/office/drawing/2014/main" val="3380518609"/>
                    </a:ext>
                  </a:extLst>
                </a:gridCol>
                <a:gridCol w="966713">
                  <a:extLst>
                    <a:ext uri="{9D8B030D-6E8A-4147-A177-3AD203B41FA5}">
                      <a16:colId xmlns:a16="http://schemas.microsoft.com/office/drawing/2014/main" val="729076000"/>
                    </a:ext>
                  </a:extLst>
                </a:gridCol>
                <a:gridCol w="1554712">
                  <a:extLst>
                    <a:ext uri="{9D8B030D-6E8A-4147-A177-3AD203B41FA5}">
                      <a16:colId xmlns:a16="http://schemas.microsoft.com/office/drawing/2014/main" val="587500307"/>
                    </a:ext>
                  </a:extLst>
                </a:gridCol>
              </a:tblGrid>
              <a:tr h="51880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Compound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473B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CRL HTRF IC50 (nM)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473B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Internal HTRF IC50 (nM)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473B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Internal iPSC qPCR IC50 (nM)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473B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Internal NGN2 qPCR IC50 (nM)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473B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~3x IC50 Dose (nM)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0EF8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Actual X-fold IC50 (iPSC)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0EF8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Actual X-fold IC50 (NGN2)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0EF8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~10x IC50 Dose (nM)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E0BB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Actual X-fold IC50 (iPSC)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E0BB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Actual X-fold IC50 (NGN2)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E0BB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Notes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473B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69002365"/>
                  </a:ext>
                </a:extLst>
              </a:tr>
              <a:tr h="1895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BIO-1755497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121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4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10.75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3.023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12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1.12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3.97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40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3.72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13.23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 err="1">
                          <a:solidFill>
                            <a:srgbClr val="0432FF"/>
                          </a:solidFill>
                          <a:effectLst/>
                          <a:latin typeface="Arial" panose="020B0604020202020204" pitchFamily="34" charset="0"/>
                        </a:rPr>
                        <a:t>Branaplam</a:t>
                      </a:r>
                      <a:endParaRPr lang="en-US" sz="1000" b="1" i="0" u="none" strike="noStrike" dirty="0">
                        <a:solidFill>
                          <a:srgbClr val="0432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53528680"/>
                  </a:ext>
                </a:extLst>
              </a:tr>
              <a:tr h="179586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BIO-2006152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7</a:t>
                      </a:r>
                    </a:p>
                  </a:txBody>
                  <a:tcPr marL="7483" marR="7483" marT="7483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5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.14</a:t>
                      </a:r>
                    </a:p>
                  </a:txBody>
                  <a:tcPr marL="7483" marR="7483" marT="7483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7.6185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45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3.18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5.91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150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10.61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19.69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PTC-518 guess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99213609"/>
                  </a:ext>
                </a:extLst>
              </a:tr>
              <a:tr h="349195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BIO-2059811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87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Expected &lt;100nM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101.5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65.19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261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2.57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4.00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870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8.57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13.35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PTC different core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81004483"/>
                  </a:ext>
                </a:extLst>
              </a:tr>
              <a:tr h="349195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BIO-2135644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0</a:t>
                      </a:r>
                    </a:p>
                  </a:txBody>
                  <a:tcPr marL="7483" marR="7483" marT="7483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Expected &lt;100nM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1.68</a:t>
                      </a:r>
                    </a:p>
                  </a:txBody>
                  <a:tcPr marL="7483" marR="7483" marT="7483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68.31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300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3.67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4.39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1000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12.24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14.64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PTC different core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9541991"/>
                  </a:ext>
                </a:extLst>
              </a:tr>
              <a:tr h="349195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BIO-2136770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100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Expected &lt;100nM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41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24.59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300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7.32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12.20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1000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24.39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40.67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Close PTC518 analog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10469021"/>
                  </a:ext>
                </a:extLst>
              </a:tr>
              <a:tr h="179586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BIO-1949634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00</a:t>
                      </a:r>
                    </a:p>
                  </a:txBody>
                  <a:tcPr marL="7483" marR="7483" marT="7483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6200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57.55</a:t>
                      </a:r>
                    </a:p>
                  </a:txBody>
                  <a:tcPr marL="7483" marR="7483" marT="7483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289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3000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8.39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10.38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10000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27.97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34.60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 err="1">
                          <a:solidFill>
                            <a:srgbClr val="0432FF"/>
                          </a:solidFill>
                          <a:effectLst/>
                          <a:latin typeface="Arial" panose="020B0604020202020204" pitchFamily="34" charset="0"/>
                        </a:rPr>
                        <a:t>Risdiplam</a:t>
                      </a:r>
                      <a:endParaRPr lang="en-US" sz="1000" b="1" i="0" u="none" strike="noStrike" dirty="0">
                        <a:solidFill>
                          <a:srgbClr val="0432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23147338"/>
                  </a:ext>
                </a:extLst>
              </a:tr>
              <a:tr h="349195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BIO-2060573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5780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670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298.2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271.5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3000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10.06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11.05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10000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33.53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36.83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Internal lead/different core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84496916"/>
                  </a:ext>
                </a:extLst>
              </a:tr>
              <a:tr h="179586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BIO-2070692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60</a:t>
                      </a:r>
                    </a:p>
                  </a:txBody>
                  <a:tcPr marL="7483" marR="7483" marT="7483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50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0.4</a:t>
                      </a:r>
                    </a:p>
                  </a:txBody>
                  <a:tcPr marL="7483" marR="7483" marT="7483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104.4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1680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11.97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16.09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5600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39.89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53.64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Remix example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15324063"/>
                  </a:ext>
                </a:extLst>
              </a:tr>
              <a:tr h="179586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BIO-2060884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370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240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113.8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105.9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3700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32.51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34.94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10000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87.87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94.43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Internal lead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78996618"/>
                  </a:ext>
                </a:extLst>
              </a:tr>
              <a:tr h="179586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DMSO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</a:p>
                  </a:txBody>
                  <a:tcPr marL="7483" marR="7483" marT="7483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26097623"/>
                  </a:ext>
                </a:extLst>
              </a:tr>
              <a:tr h="159632"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483" marR="7483" marT="7483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483" marR="7483" marT="7483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483" marR="7483" marT="7483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etermined after </a:t>
                      </a:r>
                      <a:r>
                        <a:rPr lang="en-US" sz="10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NAseq</a:t>
                      </a:r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study</a:t>
                      </a:r>
                    </a:p>
                  </a:txBody>
                  <a:tcPr marL="7483" marR="7483" marT="7483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483" marR="7483" marT="7483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etermined after </a:t>
                      </a:r>
                      <a:r>
                        <a:rPr lang="en-US" sz="10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NAseq</a:t>
                      </a:r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study</a:t>
                      </a:r>
                    </a:p>
                  </a:txBody>
                  <a:tcPr marL="7483" marR="7483" marT="7483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483" marR="7483" marT="7483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etermined after </a:t>
                      </a:r>
                      <a:r>
                        <a:rPr lang="en-US" sz="10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NAseq</a:t>
                      </a:r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study</a:t>
                      </a:r>
                    </a:p>
                  </a:txBody>
                  <a:tcPr marL="7483" marR="7483" marT="7483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483" marR="7483" marT="7483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70007284"/>
                  </a:ext>
                </a:extLst>
              </a:tr>
              <a:tr h="159632">
                <a:tc gridSpan="4"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Dosed correctly and used as reference across RNAseq studies</a:t>
                      </a:r>
                    </a:p>
                  </a:txBody>
                  <a:tcPr marL="7483" marR="7483" marT="748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2CC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483" marR="7483" marT="748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483" marR="7483" marT="748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483" marR="7483" marT="748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483" marR="7483" marT="748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483" marR="7483" marT="748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483" marR="7483" marT="748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483" marR="7483" marT="748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483" marR="7483" marT="748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5624935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284984379"/>
      </p:ext>
    </p:extLst>
  </p:cSld>
  <p:clrMapOvr>
    <a:masterClrMapping/>
  </p:clrMapOvr>
  <p:transition>
    <p:fade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23A2B1F-1290-3245-A4F7-439D5A5FB2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3396" y="321605"/>
            <a:ext cx="11425211" cy="684355"/>
          </a:xfrm>
        </p:spPr>
        <p:txBody>
          <a:bodyPr/>
          <a:lstStyle/>
          <a:p>
            <a:r>
              <a:rPr lang="en-US" dirty="0"/>
              <a:t>RNA-seq Study #2</a:t>
            </a:r>
            <a:endParaRPr lang="en-US" sz="2000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2FAC6089-06DC-584A-A08A-6C668638E81B}"/>
              </a:ext>
            </a:extLst>
          </p:cNvPr>
          <p:cNvSpPr txBox="1"/>
          <p:nvPr/>
        </p:nvSpPr>
        <p:spPr>
          <a:xfrm>
            <a:off x="1068031" y="5309480"/>
            <a:ext cx="276699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sng" strike="noStrike" kern="1200" cap="none" spc="0" normalizeH="0" baseline="0" noProof="0" dirty="0">
                <a:ln>
                  <a:noFill/>
                </a:ln>
                <a:solidFill>
                  <a:srgbClr val="36383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7189L WT Cell lines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36383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PSCs (100K)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36383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GN2 (DIV14, 200K)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44CD0474-83FD-864D-9BEE-449A7EBAB2B4}"/>
              </a:ext>
            </a:extLst>
          </p:cNvPr>
          <p:cNvSpPr txBox="1"/>
          <p:nvPr/>
        </p:nvSpPr>
        <p:spPr>
          <a:xfrm>
            <a:off x="3835021" y="5309480"/>
            <a:ext cx="276699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sng" strike="noStrike" kern="1200" cap="none" spc="0" normalizeH="0" baseline="0" noProof="0" dirty="0">
                <a:ln>
                  <a:noFill/>
                </a:ln>
                <a:solidFill>
                  <a:srgbClr val="36383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reatment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36383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4hr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5A41D750-8F46-F94E-BF72-BE12397949BF}"/>
              </a:ext>
            </a:extLst>
          </p:cNvPr>
          <p:cNvSpPr txBox="1"/>
          <p:nvPr/>
        </p:nvSpPr>
        <p:spPr>
          <a:xfrm>
            <a:off x="5862946" y="5312018"/>
            <a:ext cx="276699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sng" strike="noStrike" kern="1200" cap="none" spc="0" normalizeH="0" baseline="0" noProof="0" dirty="0">
                <a:ln>
                  <a:noFill/>
                </a:ln>
                <a:solidFill>
                  <a:srgbClr val="36383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plicates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36383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4 biological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F2C7115E-AEAA-AB4F-A641-341F45079EFF}"/>
              </a:ext>
            </a:extLst>
          </p:cNvPr>
          <p:cNvSpPr txBox="1"/>
          <p:nvPr/>
        </p:nvSpPr>
        <p:spPr>
          <a:xfrm>
            <a:off x="8356979" y="5314418"/>
            <a:ext cx="276699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sng" strike="noStrike" kern="1200" cap="none" spc="0" normalizeH="0" baseline="0" noProof="0" dirty="0">
                <a:ln>
                  <a:noFill/>
                </a:ln>
                <a:solidFill>
                  <a:srgbClr val="36383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otal Samples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36383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92 (11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36383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pds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36383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+ DMSO)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E154C766-EB57-1143-837A-F6CDC4809B16}"/>
              </a:ext>
            </a:extLst>
          </p:cNvPr>
          <p:cNvSpPr txBox="1"/>
          <p:nvPr/>
        </p:nvSpPr>
        <p:spPr>
          <a:xfrm>
            <a:off x="383393" y="901864"/>
            <a:ext cx="1130167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sng" strike="noStrike" kern="1200" cap="none" spc="0" normalizeH="0" baseline="0" noProof="0" dirty="0">
                <a:ln>
                  <a:noFill/>
                </a:ln>
                <a:solidFill>
                  <a:srgbClr val="6DAD46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Goal: 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6DAD46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ranscriptome-wide RNA-seq of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432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tent BIIB lead compounds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6DAD46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n neurons and proliferating cell type for off-target profiling in comparison to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TC518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6DAD46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and other competitor compounds.</a:t>
            </a: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94A521D6-C9AC-C5BD-CC98-95A1DD32771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51253863"/>
              </p:ext>
            </p:extLst>
          </p:nvPr>
        </p:nvGraphicFramePr>
        <p:xfrm>
          <a:off x="457200" y="1785937"/>
          <a:ext cx="11277599" cy="2927985"/>
        </p:xfrm>
        <a:graphic>
          <a:graphicData uri="http://schemas.openxmlformats.org/drawingml/2006/table">
            <a:tbl>
              <a:tblPr/>
              <a:tblGrid>
                <a:gridCol w="1383132">
                  <a:extLst>
                    <a:ext uri="{9D8B030D-6E8A-4147-A177-3AD203B41FA5}">
                      <a16:colId xmlns:a16="http://schemas.microsoft.com/office/drawing/2014/main" val="3260472234"/>
                    </a:ext>
                  </a:extLst>
                </a:gridCol>
                <a:gridCol w="1103968">
                  <a:extLst>
                    <a:ext uri="{9D8B030D-6E8A-4147-A177-3AD203B41FA5}">
                      <a16:colId xmlns:a16="http://schemas.microsoft.com/office/drawing/2014/main" val="608131466"/>
                    </a:ext>
                  </a:extLst>
                </a:gridCol>
                <a:gridCol w="1535403">
                  <a:extLst>
                    <a:ext uri="{9D8B030D-6E8A-4147-A177-3AD203B41FA5}">
                      <a16:colId xmlns:a16="http://schemas.microsoft.com/office/drawing/2014/main" val="2833260983"/>
                    </a:ext>
                  </a:extLst>
                </a:gridCol>
                <a:gridCol w="1246722">
                  <a:extLst>
                    <a:ext uri="{9D8B030D-6E8A-4147-A177-3AD203B41FA5}">
                      <a16:colId xmlns:a16="http://schemas.microsoft.com/office/drawing/2014/main" val="2954554270"/>
                    </a:ext>
                  </a:extLst>
                </a:gridCol>
                <a:gridCol w="1018315">
                  <a:extLst>
                    <a:ext uri="{9D8B030D-6E8A-4147-A177-3AD203B41FA5}">
                      <a16:colId xmlns:a16="http://schemas.microsoft.com/office/drawing/2014/main" val="2662422452"/>
                    </a:ext>
                  </a:extLst>
                </a:gridCol>
                <a:gridCol w="942179">
                  <a:extLst>
                    <a:ext uri="{9D8B030D-6E8A-4147-A177-3AD203B41FA5}">
                      <a16:colId xmlns:a16="http://schemas.microsoft.com/office/drawing/2014/main" val="1223702174"/>
                    </a:ext>
                  </a:extLst>
                </a:gridCol>
                <a:gridCol w="964385">
                  <a:extLst>
                    <a:ext uri="{9D8B030D-6E8A-4147-A177-3AD203B41FA5}">
                      <a16:colId xmlns:a16="http://schemas.microsoft.com/office/drawing/2014/main" val="1428065285"/>
                    </a:ext>
                  </a:extLst>
                </a:gridCol>
                <a:gridCol w="951696">
                  <a:extLst>
                    <a:ext uri="{9D8B030D-6E8A-4147-A177-3AD203B41FA5}">
                      <a16:colId xmlns:a16="http://schemas.microsoft.com/office/drawing/2014/main" val="1107402157"/>
                    </a:ext>
                  </a:extLst>
                </a:gridCol>
                <a:gridCol w="2131799">
                  <a:extLst>
                    <a:ext uri="{9D8B030D-6E8A-4147-A177-3AD203B41FA5}">
                      <a16:colId xmlns:a16="http://schemas.microsoft.com/office/drawing/2014/main" val="2552154908"/>
                    </a:ext>
                  </a:extLst>
                </a:gridCol>
              </a:tblGrid>
              <a:tr h="428625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Compound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473B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Internal HTRF IC50 (</a:t>
                      </a:r>
                      <a:r>
                        <a:rPr lang="en-US" sz="1000" b="1" i="0" u="none" strike="noStrike" dirty="0" err="1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nM</a:t>
                      </a:r>
                      <a:r>
                        <a:rPr lang="en-US" sz="10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)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473B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Internal iPSC qPCR IC50 (</a:t>
                      </a:r>
                      <a:r>
                        <a:rPr lang="en-US" sz="1000" b="1" i="0" u="none" strike="noStrike" dirty="0" err="1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nM</a:t>
                      </a:r>
                      <a:r>
                        <a:rPr lang="en-US" sz="10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)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473B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Internal NGN2 qPCR IC50 (</a:t>
                      </a:r>
                      <a:r>
                        <a:rPr lang="en-US" sz="1000" b="1" i="0" u="none" strike="noStrike" dirty="0" err="1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nM</a:t>
                      </a:r>
                      <a:r>
                        <a:rPr lang="en-US" sz="10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)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473B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~3x IC50 (iPSC)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0EF8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~10x IC50 (iPSC)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0EF8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~3x IC50 (NGN2)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E0BB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~10x IC50 (NGN2)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E0BB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Notes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473B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89086738"/>
                  </a:ext>
                </a:extLst>
              </a:tr>
              <a:tr h="209550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BIO-2006152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.0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.14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.62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2</a:t>
                      </a:r>
                    </a:p>
                  </a:txBody>
                  <a:tcPr marL="9525" marR="9525" marT="9525" anchor="ctr">
                    <a:lnL>
                      <a:noFill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1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6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REFERENCE, ~</a:t>
                      </a:r>
                      <a:r>
                        <a:rPr lang="en-US" sz="1000" b="1" i="0" u="none" strike="noStrike" dirty="0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PTC-518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43973977"/>
                  </a:ext>
                </a:extLst>
              </a:tr>
              <a:tr h="200025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BIO-2175420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.5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.50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.28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3</a:t>
                      </a:r>
                    </a:p>
                  </a:txBody>
                  <a:tcPr marL="9525" marR="9525" marT="9525" anchor="ctr">
                    <a:lnL>
                      <a:noFill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5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3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great </a:t>
                      </a:r>
                      <a:r>
                        <a:rPr lang="en-US" sz="10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Puu</a:t>
                      </a:r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imidazopyridine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3463375"/>
                  </a:ext>
                </a:extLst>
              </a:tr>
              <a:tr h="200025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BIO-2139701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8.3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.95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.60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0</a:t>
                      </a:r>
                    </a:p>
                  </a:txBody>
                  <a:tcPr marL="9525" marR="9525" marT="9525" anchor="ctr">
                    <a:lnL>
                      <a:noFill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9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6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imidazopyridine other RHS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92193220"/>
                  </a:ext>
                </a:extLst>
              </a:tr>
              <a:tr h="209550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BIO-2176866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1.7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0.41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.83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1</a:t>
                      </a:r>
                    </a:p>
                  </a:txBody>
                  <a:tcPr marL="9525" marR="9525" marT="9525" anchor="ctr">
                    <a:lnL>
                      <a:noFill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04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8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benzimidazole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08207323"/>
                  </a:ext>
                </a:extLst>
              </a:tr>
              <a:tr h="200025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BIO-2184088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.0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.18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.16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9</a:t>
                      </a:r>
                    </a:p>
                  </a:txBody>
                  <a:tcPr marL="9525" marR="9525" marT="9525" anchor="ctr">
                    <a:lnL>
                      <a:noFill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2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3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2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sulfur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85171036"/>
                  </a:ext>
                </a:extLst>
              </a:tr>
              <a:tr h="200025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BIO-2184090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5.0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9.36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0.86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8</a:t>
                      </a:r>
                    </a:p>
                  </a:txBody>
                  <a:tcPr marL="9525" marR="9525" marT="9525" anchor="ctr">
                    <a:lnL>
                      <a:noFill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94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3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09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sulfur other RHS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51499347"/>
                  </a:ext>
                </a:extLst>
              </a:tr>
              <a:tr h="209550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BIO-2174714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1.0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3.90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2.60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42</a:t>
                      </a:r>
                    </a:p>
                  </a:txBody>
                  <a:tcPr marL="9525" marR="9525" marT="9525" anchor="ctr">
                    <a:lnL>
                      <a:noFill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39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8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26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indazole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5490538"/>
                  </a:ext>
                </a:extLst>
              </a:tr>
              <a:tr h="200025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BIO-2186960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2.9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.77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.18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0</a:t>
                      </a:r>
                    </a:p>
                  </a:txBody>
                  <a:tcPr marL="9525" marR="9525" marT="9525" anchor="ctr">
                    <a:lnL>
                      <a:noFill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8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1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2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triazole 1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12664033"/>
                  </a:ext>
                </a:extLst>
              </a:tr>
              <a:tr h="200025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BIO-2186527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6.4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2.36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.24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7</a:t>
                      </a:r>
                    </a:p>
                  </a:txBody>
                  <a:tcPr marL="9525" marR="9525" marT="9525" anchor="ctr">
                    <a:lnL>
                      <a:noFill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24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8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2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triazole 2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1732485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BIO-2174748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4.5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7.62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.08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3</a:t>
                      </a:r>
                    </a:p>
                  </a:txBody>
                  <a:tcPr marL="9525" marR="9525" marT="9525" anchor="ctr">
                    <a:lnL>
                      <a:noFill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76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6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1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oxazole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86478940"/>
                  </a:ext>
                </a:extLst>
              </a:tr>
              <a:tr h="200025"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BIO-2184741</a:t>
                      </a:r>
                    </a:p>
                  </a:txBody>
                  <a:tcPr marL="9525" marR="9525" marT="9525" anchor="b">
                    <a:lnL>
                      <a:noFill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6.0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7.60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6.21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43</a:t>
                      </a:r>
                    </a:p>
                  </a:txBody>
                  <a:tcPr marL="9525" marR="9525" marT="9525" anchor="ctr">
                    <a:lnL>
                      <a:noFill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76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89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62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  <a:latin typeface="Arial" panose="020B0604020202020204" pitchFamily="34" charset="0"/>
                        </a:rPr>
                        <a:t>BENCHMARK</a:t>
                      </a:r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, Remix </a:t>
                      </a:r>
                      <a:r>
                        <a:rPr lang="en-US" sz="10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cpd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37629120"/>
                  </a:ext>
                </a:extLst>
              </a:tr>
              <a:tr h="209550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DMSO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5818729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358587301"/>
      </p:ext>
    </p:extLst>
  </p:cSld>
  <p:clrMapOvr>
    <a:masterClrMapping/>
  </p:clrMapOvr>
  <p:transition>
    <p:fade/>
  </p:transition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>
            <a:extLst>
              <a:ext uri="{FF2B5EF4-FFF2-40B4-BE49-F238E27FC236}">
                <a16:creationId xmlns:a16="http://schemas.microsoft.com/office/drawing/2014/main" id="{71843833-56D3-4FC1-AEEA-4056C71CF16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29" imgH="627" progId="TCLayout.ActiveDocument.1">
                  <p:embed/>
                </p:oleObj>
              </mc:Choice>
              <mc:Fallback>
                <p:oleObj name="think-cell Slide" r:id="rId4" imgW="629" imgH="627" progId="TCLayout.ActiveDocument.1">
                  <p:embed/>
                  <p:pic>
                    <p:nvPicPr>
                      <p:cNvPr id="21" name="Object 20" hidden="1">
                        <a:extLst>
                          <a:ext uri="{FF2B5EF4-FFF2-40B4-BE49-F238E27FC236}">
                            <a16:creationId xmlns:a16="http://schemas.microsoft.com/office/drawing/2014/main" id="{71843833-56D3-4FC1-AEEA-4056C71CF1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0" name="Title 1"/>
          <p:cNvSpPr txBox="1">
            <a:spLocks/>
          </p:cNvSpPr>
          <p:nvPr/>
        </p:nvSpPr>
        <p:spPr>
          <a:xfrm>
            <a:off x="4233" y="0"/>
            <a:ext cx="12187767" cy="783884"/>
          </a:xfrm>
          <a:prstGeom prst="rect">
            <a:avLst/>
          </a:prstGeom>
          <a:solidFill>
            <a:srgbClr val="013952">
              <a:alpha val="75000"/>
            </a:srgbClr>
          </a:solidFill>
        </p:spPr>
        <p:txBody>
          <a:bodyPr lIns="48768" anchor="ctr"/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52388" marR="0" lvl="0" indent="0" algn="ctr" defTabSz="609555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>
                <a:solidFill>
                  <a:srgbClr val="FFFFFF"/>
                </a:solidFill>
                <a:latin typeface="Arial Narrow" panose="020B0606020202030204" pitchFamily="34" charset="0"/>
              </a:rPr>
              <a:t>Structures of Some SM Splicing Enhancers</a:t>
            </a:r>
            <a:endParaRPr kumimoji="0" lang="en-US" sz="3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Narrow" panose="020B0606020202030204" pitchFamily="34" charset="0"/>
              <a:ea typeface="+mj-ea"/>
              <a:cs typeface="+mj-cs"/>
            </a:endParaRPr>
          </a:p>
        </p:txBody>
      </p:sp>
      <p:graphicFrame>
        <p:nvGraphicFramePr>
          <p:cNvPr id="2" name="Object 1">
            <a:extLst>
              <a:ext uri="{FF2B5EF4-FFF2-40B4-BE49-F238E27FC236}">
                <a16:creationId xmlns:a16="http://schemas.microsoft.com/office/drawing/2014/main" id="{6D3355B7-CDF0-8280-B1EA-35938AABB3BC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448632194"/>
              </p:ext>
            </p:extLst>
          </p:nvPr>
        </p:nvGraphicFramePr>
        <p:xfrm>
          <a:off x="1940297" y="4025679"/>
          <a:ext cx="6979533" cy="206720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CS ChemDraw Drawing" r:id="rId6" imgW="10004865" imgH="2965246" progId="ChemDraw.Document.6.0">
                  <p:embed/>
                </p:oleObj>
              </mc:Choice>
              <mc:Fallback>
                <p:oleObj name="CS ChemDraw Drawing" r:id="rId6" imgW="10004865" imgH="2965246" progId="ChemDraw.Document.6.0">
                  <p:embed/>
                  <p:pic>
                    <p:nvPicPr>
                      <p:cNvPr id="2" name="Object 1">
                        <a:extLst>
                          <a:ext uri="{FF2B5EF4-FFF2-40B4-BE49-F238E27FC236}">
                            <a16:creationId xmlns:a16="http://schemas.microsoft.com/office/drawing/2014/main" id="{97B296AC-5CD2-E00D-4F10-159CC623AD0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940297" y="4025679"/>
                        <a:ext cx="6979533" cy="206720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3" name="Object 2">
            <a:extLst>
              <a:ext uri="{FF2B5EF4-FFF2-40B4-BE49-F238E27FC236}">
                <a16:creationId xmlns:a16="http://schemas.microsoft.com/office/drawing/2014/main" id="{B7380893-B9CD-2CD5-7887-8E980358AAE5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85821481"/>
              </p:ext>
            </p:extLst>
          </p:nvPr>
        </p:nvGraphicFramePr>
        <p:xfrm>
          <a:off x="1926825" y="948238"/>
          <a:ext cx="7006478" cy="248076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CS ChemDraw Drawing" r:id="rId8" imgW="9446884" imgH="3340038" progId="ChemDraw.Document.6.0">
                  <p:embed/>
                </p:oleObj>
              </mc:Choice>
              <mc:Fallback>
                <p:oleObj name="CS ChemDraw Drawing" r:id="rId8" imgW="9446884" imgH="3340038" progId="ChemDraw.Document.6.0">
                  <p:embed/>
                  <p:pic>
                    <p:nvPicPr>
                      <p:cNvPr id="30" name="Object 29">
                        <a:extLst>
                          <a:ext uri="{FF2B5EF4-FFF2-40B4-BE49-F238E27FC236}">
                            <a16:creationId xmlns:a16="http://schemas.microsoft.com/office/drawing/2014/main" id="{ABAB29AB-6149-8D41-AAFC-F1B037CADA7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926825" y="948238"/>
                        <a:ext cx="7006478" cy="248076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7836A944-F5F8-AF7B-6F9D-0830F356B38C}"/>
              </a:ext>
            </a:extLst>
          </p:cNvPr>
          <p:cNvSpPr/>
          <p:nvPr/>
        </p:nvSpPr>
        <p:spPr>
          <a:xfrm>
            <a:off x="2293897" y="1901152"/>
            <a:ext cx="858645" cy="324380"/>
          </a:xfrm>
          <a:prstGeom prst="rect">
            <a:avLst/>
          </a:prstGeom>
          <a:noFill/>
          <a:ln>
            <a:solidFill>
              <a:srgbClr val="FF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296196E4-3CBF-B563-06C7-87B030850649}"/>
              </a:ext>
            </a:extLst>
          </p:cNvPr>
          <p:cNvSpPr/>
          <p:nvPr/>
        </p:nvSpPr>
        <p:spPr>
          <a:xfrm>
            <a:off x="7632974" y="1901152"/>
            <a:ext cx="926362" cy="324380"/>
          </a:xfrm>
          <a:prstGeom prst="rect">
            <a:avLst/>
          </a:prstGeom>
          <a:noFill/>
          <a:ln>
            <a:solidFill>
              <a:srgbClr val="FF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81747500"/>
      </p:ext>
    </p:extLst>
  </p:cSld>
  <p:clrMapOvr>
    <a:masterClrMapping/>
  </p:clrMapOvr>
  <p:transition>
    <p:fade/>
  </p:transition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>
            <a:extLst>
              <a:ext uri="{FF2B5EF4-FFF2-40B4-BE49-F238E27FC236}">
                <a16:creationId xmlns:a16="http://schemas.microsoft.com/office/drawing/2014/main" id="{71843833-56D3-4FC1-AEEA-4056C71CF16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29" imgH="627" progId="TCLayout.ActiveDocument.1">
                  <p:embed/>
                </p:oleObj>
              </mc:Choice>
              <mc:Fallback>
                <p:oleObj name="think-cell Slide" r:id="rId4" imgW="629" imgH="627" progId="TCLayout.ActiveDocument.1">
                  <p:embed/>
                  <p:pic>
                    <p:nvPicPr>
                      <p:cNvPr id="21" name="Object 20" hidden="1">
                        <a:extLst>
                          <a:ext uri="{FF2B5EF4-FFF2-40B4-BE49-F238E27FC236}">
                            <a16:creationId xmlns:a16="http://schemas.microsoft.com/office/drawing/2014/main" id="{71843833-56D3-4FC1-AEEA-4056C71CF1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0" name="Title 1"/>
          <p:cNvSpPr txBox="1">
            <a:spLocks/>
          </p:cNvSpPr>
          <p:nvPr/>
        </p:nvSpPr>
        <p:spPr>
          <a:xfrm>
            <a:off x="4233" y="0"/>
            <a:ext cx="12187767" cy="783884"/>
          </a:xfrm>
          <a:prstGeom prst="rect">
            <a:avLst/>
          </a:prstGeom>
          <a:solidFill>
            <a:srgbClr val="013952">
              <a:alpha val="75000"/>
            </a:srgbClr>
          </a:solidFill>
        </p:spPr>
        <p:txBody>
          <a:bodyPr lIns="48768" anchor="ctr"/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52388" marR="0" lvl="0" indent="0" algn="ctr" defTabSz="609555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Narrow" panose="020B0606020202030204" pitchFamily="34" charset="0"/>
                <a:ea typeface="+mj-ea"/>
                <a:cs typeface="+mj-cs"/>
              </a:rPr>
              <a:t>On-Targets and Off-Targets sequences</a:t>
            </a: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1C65CDE8-B723-3491-E29C-567DAC657AF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52652742"/>
              </p:ext>
            </p:extLst>
          </p:nvPr>
        </p:nvGraphicFramePr>
        <p:xfrm>
          <a:off x="360426" y="2137206"/>
          <a:ext cx="5652185" cy="2634740"/>
        </p:xfrm>
        <a:graphic>
          <a:graphicData uri="http://schemas.openxmlformats.org/drawingml/2006/table">
            <a:tbl>
              <a:tblPr/>
              <a:tblGrid>
                <a:gridCol w="2163978">
                  <a:extLst>
                    <a:ext uri="{9D8B030D-6E8A-4147-A177-3AD203B41FA5}">
                      <a16:colId xmlns:a16="http://schemas.microsoft.com/office/drawing/2014/main" val="2344135560"/>
                    </a:ext>
                  </a:extLst>
                </a:gridCol>
                <a:gridCol w="3488207">
                  <a:extLst>
                    <a:ext uri="{9D8B030D-6E8A-4147-A177-3AD203B41FA5}">
                      <a16:colId xmlns:a16="http://schemas.microsoft.com/office/drawing/2014/main" val="3183120372"/>
                    </a:ext>
                  </a:extLst>
                </a:gridCol>
              </a:tblGrid>
              <a:tr h="250716">
                <a:tc>
                  <a:txBody>
                    <a:bodyPr/>
                    <a:lstStyle/>
                    <a:p>
                      <a:pPr algn="ctr" fontAlgn="b"/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945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09585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u="none" strike="noStrike" dirty="0">
                          <a:solidFill>
                            <a:srgbClr val="000000"/>
                          </a:solidFill>
                          <a:effectLst/>
                        </a:rPr>
                        <a:t>Doner Splice Site Consensus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945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92238948"/>
                  </a:ext>
                </a:extLst>
              </a:tr>
              <a:tr h="250716">
                <a:tc>
                  <a:txBody>
                    <a:bodyPr/>
                    <a:lstStyle/>
                    <a:p>
                      <a:pPr algn="ctr" fontAlgn="b"/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9459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600" u="none" strike="noStrike" dirty="0">
                          <a:solidFill>
                            <a:srgbClr val="000000"/>
                          </a:solidFill>
                          <a:effectLst/>
                        </a:rPr>
                        <a:t>AG|GTRAG</a:t>
                      </a:r>
                      <a:endParaRPr lang="en-US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9459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71386942"/>
                  </a:ext>
                </a:extLst>
              </a:tr>
              <a:tr h="253334"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ene Names</a:t>
                      </a:r>
                    </a:p>
                  </a:txBody>
                  <a:tcPr marL="9459" marR="9459" marT="9459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400" u="none" strike="noStrike" dirty="0">
                          <a:solidFill>
                            <a:srgbClr val="000000"/>
                          </a:solidFill>
                          <a:effectLst/>
                        </a:rPr>
                        <a:t>Risdiplam Consensus Binding sequence 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9459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55391469"/>
                  </a:ext>
                </a:extLst>
              </a:tr>
              <a:tr h="312468"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600" u="none" strike="noStrike" dirty="0">
                          <a:solidFill>
                            <a:srgbClr val="000000"/>
                          </a:solidFill>
                          <a:effectLst/>
                        </a:rPr>
                        <a:t>HTT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600" u="none" strike="noStrike" dirty="0">
                          <a:solidFill>
                            <a:srgbClr val="000000"/>
                          </a:solidFill>
                          <a:effectLst/>
                        </a:rPr>
                        <a:t>                   A</a:t>
                      </a:r>
                      <a:r>
                        <a:rPr lang="en-US" sz="160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00FF"/>
                          </a:highlight>
                        </a:rPr>
                        <a:t>GA</a:t>
                      </a:r>
                      <a:r>
                        <a:rPr lang="en-US" sz="1600" u="none" strike="noStrike" dirty="0">
                          <a:solidFill>
                            <a:srgbClr val="000000"/>
                          </a:solidFill>
                          <a:effectLst/>
                        </a:rPr>
                        <a:t>|GTTAG</a:t>
                      </a:r>
                      <a:endParaRPr lang="en-US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200158"/>
                  </a:ext>
                </a:extLst>
              </a:tr>
              <a:tr h="312468"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600" u="none" strike="noStrike">
                          <a:solidFill>
                            <a:srgbClr val="000000"/>
                          </a:solidFill>
                          <a:effectLst/>
                        </a:rPr>
                        <a:t>APLP2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60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00FF"/>
                          </a:highlight>
                        </a:rPr>
                        <a:t>GA</a:t>
                      </a:r>
                      <a:r>
                        <a:rPr lang="en-US" sz="1600" u="none" strike="noStrike" dirty="0">
                          <a:solidFill>
                            <a:srgbClr val="000000"/>
                          </a:solidFill>
                          <a:effectLst/>
                        </a:rPr>
                        <a:t>|GTAAG</a:t>
                      </a:r>
                      <a:endParaRPr lang="en-US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61269583"/>
                  </a:ext>
                </a:extLst>
              </a:tr>
              <a:tr h="312468"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600" u="none" strike="noStrike">
                          <a:solidFill>
                            <a:srgbClr val="000000"/>
                          </a:solidFill>
                          <a:effectLst/>
                        </a:rPr>
                        <a:t>FOXM1-inside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60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00FF"/>
                          </a:highlight>
                        </a:rPr>
                        <a:t>GA</a:t>
                      </a:r>
                      <a:r>
                        <a:rPr lang="en-US" sz="1600" u="none" strike="noStrike" dirty="0">
                          <a:solidFill>
                            <a:srgbClr val="000000"/>
                          </a:solidFill>
                          <a:effectLst/>
                        </a:rPr>
                        <a:t>|GTAAG</a:t>
                      </a:r>
                      <a:endParaRPr lang="en-US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62696984"/>
                  </a:ext>
                </a:extLst>
              </a:tr>
              <a:tr h="312468"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600" u="none" strike="noStrike">
                          <a:solidFill>
                            <a:srgbClr val="000000"/>
                          </a:solidFill>
                          <a:effectLst/>
                        </a:rPr>
                        <a:t>FOXM1-border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60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00FFFF"/>
                          </a:highlight>
                        </a:rPr>
                        <a:t>CA</a:t>
                      </a:r>
                      <a:r>
                        <a:rPr lang="en-US" sz="1600" u="none" strike="noStrike" dirty="0">
                          <a:solidFill>
                            <a:srgbClr val="000000"/>
                          </a:solidFill>
                          <a:effectLst/>
                        </a:rPr>
                        <a:t>|GTAAG</a:t>
                      </a:r>
                      <a:endParaRPr lang="en-US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94902633"/>
                  </a:ext>
                </a:extLst>
              </a:tr>
              <a:tr h="312468"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600" u="none" strike="noStrike" dirty="0">
                          <a:solidFill>
                            <a:srgbClr val="000000"/>
                          </a:solidFill>
                          <a:effectLst/>
                        </a:rPr>
                        <a:t>SLC25A17-inside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60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00FF"/>
                          </a:highlight>
                        </a:rPr>
                        <a:t>GA</a:t>
                      </a:r>
                      <a:r>
                        <a:rPr lang="en-US" sz="1600" u="none" strike="noStrike" dirty="0">
                          <a:solidFill>
                            <a:srgbClr val="000000"/>
                          </a:solidFill>
                          <a:effectLst/>
                        </a:rPr>
                        <a:t>|GTAAG</a:t>
                      </a:r>
                      <a:endParaRPr lang="en-US" sz="1600" b="1" i="0" u="none" strike="noStrike" dirty="0">
                        <a:solidFill>
                          <a:srgbClr val="000000"/>
                        </a:solidFill>
                        <a:effectLst/>
                        <a:highlight>
                          <a:srgbClr val="C0C0C0"/>
                        </a:highlight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30752401"/>
                  </a:ext>
                </a:extLst>
              </a:tr>
              <a:tr h="312468"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600" u="none" strike="noStrike" dirty="0">
                          <a:solidFill>
                            <a:srgbClr val="000000"/>
                          </a:solidFill>
                          <a:effectLst/>
                        </a:rPr>
                        <a:t>SLC25A17-border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60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C0C0C0"/>
                          </a:highlight>
                        </a:rPr>
                        <a:t>AG</a:t>
                      </a:r>
                      <a:r>
                        <a:rPr lang="en-US" sz="1600" u="none" strike="noStrike" dirty="0">
                          <a:solidFill>
                            <a:srgbClr val="000000"/>
                          </a:solidFill>
                          <a:effectLst/>
                        </a:rPr>
                        <a:t>|GT</a:t>
                      </a:r>
                      <a:r>
                        <a:rPr lang="en-US" sz="160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C0C0C0"/>
                          </a:highlight>
                        </a:rPr>
                        <a:t>TAA</a:t>
                      </a:r>
                      <a:endParaRPr lang="en-US" sz="1600" b="1" i="0" u="none" strike="noStrike" dirty="0">
                        <a:solidFill>
                          <a:srgbClr val="000000"/>
                        </a:solidFill>
                        <a:effectLst/>
                        <a:highlight>
                          <a:srgbClr val="C0C0C0"/>
                        </a:highlight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7039242"/>
                  </a:ext>
                </a:extLst>
              </a:tr>
            </a:tbl>
          </a:graphicData>
        </a:graphic>
      </p:graphicFrame>
      <p:pic>
        <p:nvPicPr>
          <p:cNvPr id="6" name="Picture 5" descr="A picture containing graphical user interface&#10;&#10;Description automatically generated">
            <a:extLst>
              <a:ext uri="{FF2B5EF4-FFF2-40B4-BE49-F238E27FC236}">
                <a16:creationId xmlns:a16="http://schemas.microsoft.com/office/drawing/2014/main" id="{8CA43935-0D5A-508D-4BDC-D4DFC510744D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06765" y="1738622"/>
            <a:ext cx="6209786" cy="3558405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3B6A76D2-4BC5-DD86-3C37-C64C4DE05F62}"/>
              </a:ext>
            </a:extLst>
          </p:cNvPr>
          <p:cNvSpPr txBox="1"/>
          <p:nvPr/>
        </p:nvSpPr>
        <p:spPr>
          <a:xfrm>
            <a:off x="360426" y="5571123"/>
            <a:ext cx="4175695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/>
              <a:t>ref: </a:t>
            </a:r>
          </a:p>
          <a:p>
            <a:r>
              <a:rPr lang="en-US" sz="1200" dirty="0" err="1"/>
              <a:t>Ratni</a:t>
            </a:r>
            <a:r>
              <a:rPr lang="en-US" sz="1200" dirty="0"/>
              <a:t> Roche review, </a:t>
            </a:r>
            <a:r>
              <a:rPr lang="en-US" sz="1200" i="1" dirty="0"/>
              <a:t>Progress Medicinal Chem V58, 2019</a:t>
            </a:r>
            <a:r>
              <a:rPr lang="en-US" sz="1200" dirty="0"/>
              <a:t> </a:t>
            </a:r>
          </a:p>
          <a:p>
            <a:r>
              <a:rPr lang="en-US" sz="1200" dirty="0"/>
              <a:t>Anuradha Bhattacharyya </a:t>
            </a:r>
            <a:r>
              <a:rPr lang="en-US" sz="1200" i="1" dirty="0"/>
              <a:t>et. Al. Nature Comm. 2021</a:t>
            </a:r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2520422840"/>
      </p:ext>
    </p:extLst>
  </p:cSld>
  <p:clrMapOvr>
    <a:masterClrMapping/>
  </p:clrMapOvr>
  <p:transition>
    <p:fade/>
  </p:transition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A69C73D-5F16-A949-B8C3-18EE7187BD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3396" y="204645"/>
            <a:ext cx="7587787" cy="227901"/>
          </a:xfrm>
        </p:spPr>
        <p:txBody>
          <a:bodyPr/>
          <a:lstStyle/>
          <a:p>
            <a:r>
              <a:rPr lang="en-US" sz="1600" dirty="0"/>
              <a:t>Sample similarity from Gene Expression </a:t>
            </a:r>
            <a:r>
              <a:rPr lang="en-US" sz="1600" dirty="0">
                <a:solidFill>
                  <a:schemeClr val="accent5"/>
                </a:solidFill>
              </a:rPr>
              <a:t>(1</a:t>
            </a:r>
            <a:r>
              <a:rPr lang="en-US" sz="1600" baseline="30000" dirty="0">
                <a:solidFill>
                  <a:schemeClr val="accent5"/>
                </a:solidFill>
              </a:rPr>
              <a:t>st</a:t>
            </a:r>
            <a:r>
              <a:rPr lang="en-US" sz="1600" dirty="0">
                <a:solidFill>
                  <a:schemeClr val="accent5"/>
                </a:solidFill>
              </a:rPr>
              <a:t> exp)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D92BA944-F994-2845-A61D-AF8BD0CBBA30}"/>
              </a:ext>
            </a:extLst>
          </p:cNvPr>
          <p:cNvSpPr txBox="1">
            <a:spLocks/>
          </p:cNvSpPr>
          <p:nvPr/>
        </p:nvSpPr>
        <p:spPr>
          <a:xfrm>
            <a:off x="383397" y="655577"/>
            <a:ext cx="3957110" cy="227901"/>
          </a:xfrm>
          <a:prstGeom prst="rect">
            <a:avLst/>
          </a:prstGeom>
        </p:spPr>
        <p:txBody>
          <a:bodyPr vert="horz" lIns="91440" tIns="45720" rIns="0" bIns="45720" rtlCol="0" anchor="t">
            <a:noAutofit/>
          </a:bodyPr>
          <a:lstStyle>
            <a:lvl1pPr algn="l" defTabSz="609585" rtl="0" eaLnBrk="1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3733" b="1" i="0" kern="1200">
                <a:solidFill>
                  <a:schemeClr val="tx2"/>
                </a:solidFill>
                <a:latin typeface="+mj-lt"/>
                <a:ea typeface="Helvetica Neue" panose="02000503000000020004" pitchFamily="2" charset="0"/>
                <a:cs typeface="Helvetica Neue" panose="02000503000000020004" pitchFamily="2" charset="0"/>
              </a:defRPr>
            </a:lvl1pPr>
          </a:lstStyle>
          <a:p>
            <a:r>
              <a:rPr lang="en-US" sz="1200" dirty="0"/>
              <a:t>PCA in 2D for iPSC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C4CA0985-8E4C-AF45-9987-8D1765A504AD}"/>
              </a:ext>
            </a:extLst>
          </p:cNvPr>
          <p:cNvSpPr txBox="1">
            <a:spLocks/>
          </p:cNvSpPr>
          <p:nvPr/>
        </p:nvSpPr>
        <p:spPr>
          <a:xfrm>
            <a:off x="6459519" y="701814"/>
            <a:ext cx="3957110" cy="227901"/>
          </a:xfrm>
          <a:prstGeom prst="rect">
            <a:avLst/>
          </a:prstGeom>
        </p:spPr>
        <p:txBody>
          <a:bodyPr vert="horz" lIns="91440" tIns="45720" rIns="0" bIns="45720" rtlCol="0" anchor="t">
            <a:noAutofit/>
          </a:bodyPr>
          <a:lstStyle>
            <a:lvl1pPr algn="l" defTabSz="609585" rtl="0" eaLnBrk="1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3733" b="1" i="0" kern="1200">
                <a:solidFill>
                  <a:schemeClr val="tx2"/>
                </a:solidFill>
                <a:latin typeface="+mj-lt"/>
                <a:ea typeface="Helvetica Neue" panose="02000503000000020004" pitchFamily="2" charset="0"/>
                <a:cs typeface="Helvetica Neue" panose="02000503000000020004" pitchFamily="2" charset="0"/>
              </a:defRPr>
            </a:lvl1pPr>
          </a:lstStyle>
          <a:p>
            <a:r>
              <a:rPr lang="en-US" sz="1200" dirty="0"/>
              <a:t>PCA in 2D for NGN2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5993056A-5E74-6747-92B1-3DF6D268957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88693" y="1198983"/>
            <a:ext cx="5842347" cy="4525701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EE5F3A94-CF2E-684A-953C-87E59C8CE39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8062" y="1152746"/>
            <a:ext cx="5594287" cy="4525701"/>
          </a:xfrm>
          <a:prstGeom prst="rect">
            <a:avLst/>
          </a:prstGeom>
        </p:spPr>
      </p:pic>
      <p:sp>
        <p:nvSpPr>
          <p:cNvPr id="3" name="Oval 2">
            <a:extLst>
              <a:ext uri="{FF2B5EF4-FFF2-40B4-BE49-F238E27FC236}">
                <a16:creationId xmlns:a16="http://schemas.microsoft.com/office/drawing/2014/main" id="{653F5F5D-0737-8E04-1B54-87D405C9922A}"/>
              </a:ext>
            </a:extLst>
          </p:cNvPr>
          <p:cNvSpPr/>
          <p:nvPr/>
        </p:nvSpPr>
        <p:spPr>
          <a:xfrm>
            <a:off x="1300480" y="2956560"/>
            <a:ext cx="558800" cy="568960"/>
          </a:xfrm>
          <a:prstGeom prst="ellipse">
            <a:avLst/>
          </a:prstGeom>
          <a:noFill/>
          <a:ln>
            <a:solidFill>
              <a:srgbClr val="FF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3ECF240E-E810-135E-E309-9625796CD542}"/>
              </a:ext>
            </a:extLst>
          </p:cNvPr>
          <p:cNvSpPr/>
          <p:nvPr/>
        </p:nvSpPr>
        <p:spPr>
          <a:xfrm>
            <a:off x="7355666" y="4958080"/>
            <a:ext cx="3840654" cy="406400"/>
          </a:xfrm>
          <a:prstGeom prst="rect">
            <a:avLst/>
          </a:prstGeom>
          <a:noFill/>
          <a:ln>
            <a:solidFill>
              <a:srgbClr val="FF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34600071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6" grpId="0" animBg="1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A69C73D-5F16-A949-B8C3-18EE7187BD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3396" y="204645"/>
            <a:ext cx="7587787" cy="227901"/>
          </a:xfrm>
        </p:spPr>
        <p:txBody>
          <a:bodyPr/>
          <a:lstStyle/>
          <a:p>
            <a:r>
              <a:rPr lang="en-US" sz="1600" dirty="0"/>
              <a:t>Sample similarity from Gene Expression </a:t>
            </a:r>
            <a:r>
              <a:rPr lang="en-US" sz="1600" dirty="0">
                <a:solidFill>
                  <a:schemeClr val="accent5"/>
                </a:solidFill>
              </a:rPr>
              <a:t>(2</a:t>
            </a:r>
            <a:r>
              <a:rPr lang="en-US" sz="1600" baseline="30000" dirty="0">
                <a:solidFill>
                  <a:schemeClr val="accent5"/>
                </a:solidFill>
              </a:rPr>
              <a:t>nd</a:t>
            </a:r>
            <a:r>
              <a:rPr lang="en-US" sz="1600" dirty="0">
                <a:solidFill>
                  <a:schemeClr val="accent5"/>
                </a:solidFill>
              </a:rPr>
              <a:t>  exp raw)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D92BA944-F994-2845-A61D-AF8BD0CBBA30}"/>
              </a:ext>
            </a:extLst>
          </p:cNvPr>
          <p:cNvSpPr txBox="1">
            <a:spLocks/>
          </p:cNvSpPr>
          <p:nvPr/>
        </p:nvSpPr>
        <p:spPr>
          <a:xfrm>
            <a:off x="383397" y="655577"/>
            <a:ext cx="3957110" cy="227901"/>
          </a:xfrm>
          <a:prstGeom prst="rect">
            <a:avLst/>
          </a:prstGeom>
        </p:spPr>
        <p:txBody>
          <a:bodyPr vert="horz" lIns="91440" tIns="45720" rIns="0" bIns="45720" rtlCol="0" anchor="t">
            <a:noAutofit/>
          </a:bodyPr>
          <a:lstStyle>
            <a:lvl1pPr algn="l" defTabSz="609585" rtl="0" eaLnBrk="1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3733" b="1" i="0" kern="1200">
                <a:solidFill>
                  <a:schemeClr val="tx2"/>
                </a:solidFill>
                <a:latin typeface="+mj-lt"/>
                <a:ea typeface="Helvetica Neue" panose="02000503000000020004" pitchFamily="2" charset="0"/>
                <a:cs typeface="Helvetica Neue" panose="02000503000000020004" pitchFamily="2" charset="0"/>
              </a:defRPr>
            </a:lvl1pPr>
          </a:lstStyle>
          <a:p>
            <a:r>
              <a:rPr lang="en-US" sz="1200" dirty="0"/>
              <a:t>PCA in 2D for iPSC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C4CA0985-8E4C-AF45-9987-8D1765A504AD}"/>
              </a:ext>
            </a:extLst>
          </p:cNvPr>
          <p:cNvSpPr txBox="1">
            <a:spLocks/>
          </p:cNvSpPr>
          <p:nvPr/>
        </p:nvSpPr>
        <p:spPr>
          <a:xfrm>
            <a:off x="6459519" y="701814"/>
            <a:ext cx="3957110" cy="227901"/>
          </a:xfrm>
          <a:prstGeom prst="rect">
            <a:avLst/>
          </a:prstGeom>
        </p:spPr>
        <p:txBody>
          <a:bodyPr vert="horz" lIns="91440" tIns="45720" rIns="0" bIns="45720" rtlCol="0" anchor="t">
            <a:noAutofit/>
          </a:bodyPr>
          <a:lstStyle>
            <a:lvl1pPr algn="l" defTabSz="609585" rtl="0" eaLnBrk="1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3733" b="1" i="0" kern="1200">
                <a:solidFill>
                  <a:schemeClr val="tx2"/>
                </a:solidFill>
                <a:latin typeface="+mj-lt"/>
                <a:ea typeface="Helvetica Neue" panose="02000503000000020004" pitchFamily="2" charset="0"/>
                <a:cs typeface="Helvetica Neue" panose="02000503000000020004" pitchFamily="2" charset="0"/>
              </a:defRPr>
            </a:lvl1pPr>
          </a:lstStyle>
          <a:p>
            <a:r>
              <a:rPr lang="en-US" sz="1200" dirty="0"/>
              <a:t>PCA in 2D for NGN2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CF1430AD-AC38-B1CA-870F-E1713DAE6EE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30679" y="1106508"/>
            <a:ext cx="5315051" cy="452570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CAA423CB-6A7A-A4DD-2C6A-B8F9F4E50D7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7806" y="1106508"/>
            <a:ext cx="5442641" cy="45257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89593422"/>
      </p:ext>
    </p:extLst>
  </p:cSld>
  <p:clrMapOvr>
    <a:masterClrMapping/>
  </p:clrMapOvr>
  <p:transition>
    <p:fade/>
  </p:transition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A69C73D-5F16-A949-B8C3-18EE7187BD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3396" y="204645"/>
            <a:ext cx="9504883" cy="227901"/>
          </a:xfrm>
        </p:spPr>
        <p:txBody>
          <a:bodyPr/>
          <a:lstStyle/>
          <a:p>
            <a:r>
              <a:rPr lang="en-US" sz="1600" dirty="0"/>
              <a:t>Sample similarity from Gene Expression </a:t>
            </a:r>
            <a:r>
              <a:rPr lang="en-US" sz="1600" dirty="0">
                <a:solidFill>
                  <a:schemeClr val="accent5"/>
                </a:solidFill>
              </a:rPr>
              <a:t>(2</a:t>
            </a:r>
            <a:r>
              <a:rPr lang="en-US" sz="1600" baseline="30000" dirty="0">
                <a:solidFill>
                  <a:schemeClr val="accent5"/>
                </a:solidFill>
              </a:rPr>
              <a:t>nd</a:t>
            </a:r>
            <a:r>
              <a:rPr lang="en-US" sz="1600" dirty="0">
                <a:solidFill>
                  <a:schemeClr val="accent5"/>
                </a:solidFill>
              </a:rPr>
              <a:t>  exp raw after removal of low-quality samples)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D92BA944-F994-2845-A61D-AF8BD0CBBA30}"/>
              </a:ext>
            </a:extLst>
          </p:cNvPr>
          <p:cNvSpPr txBox="1">
            <a:spLocks/>
          </p:cNvSpPr>
          <p:nvPr/>
        </p:nvSpPr>
        <p:spPr>
          <a:xfrm>
            <a:off x="383397" y="655577"/>
            <a:ext cx="3957110" cy="227901"/>
          </a:xfrm>
          <a:prstGeom prst="rect">
            <a:avLst/>
          </a:prstGeom>
        </p:spPr>
        <p:txBody>
          <a:bodyPr vert="horz" lIns="91440" tIns="45720" rIns="0" bIns="45720" rtlCol="0" anchor="t">
            <a:noAutofit/>
          </a:bodyPr>
          <a:lstStyle>
            <a:lvl1pPr algn="l" defTabSz="609585" rtl="0" eaLnBrk="1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3733" b="1" i="0" kern="1200">
                <a:solidFill>
                  <a:schemeClr val="tx2"/>
                </a:solidFill>
                <a:latin typeface="+mj-lt"/>
                <a:ea typeface="Helvetica Neue" panose="02000503000000020004" pitchFamily="2" charset="0"/>
                <a:cs typeface="Helvetica Neue" panose="02000503000000020004" pitchFamily="2" charset="0"/>
              </a:defRPr>
            </a:lvl1pPr>
          </a:lstStyle>
          <a:p>
            <a:r>
              <a:rPr lang="en-US" sz="1200" dirty="0"/>
              <a:t>PCA in 2D for iPSC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C4CA0985-8E4C-AF45-9987-8D1765A504AD}"/>
              </a:ext>
            </a:extLst>
          </p:cNvPr>
          <p:cNvSpPr txBox="1">
            <a:spLocks/>
          </p:cNvSpPr>
          <p:nvPr/>
        </p:nvSpPr>
        <p:spPr>
          <a:xfrm>
            <a:off x="6459519" y="701814"/>
            <a:ext cx="3957110" cy="227901"/>
          </a:xfrm>
          <a:prstGeom prst="rect">
            <a:avLst/>
          </a:prstGeom>
        </p:spPr>
        <p:txBody>
          <a:bodyPr vert="horz" lIns="91440" tIns="45720" rIns="0" bIns="45720" rtlCol="0" anchor="t">
            <a:noAutofit/>
          </a:bodyPr>
          <a:lstStyle>
            <a:lvl1pPr algn="l" defTabSz="609585" rtl="0" eaLnBrk="1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3733" b="1" i="0" kern="1200">
                <a:solidFill>
                  <a:schemeClr val="tx2"/>
                </a:solidFill>
                <a:latin typeface="+mj-lt"/>
                <a:ea typeface="Helvetica Neue" panose="02000503000000020004" pitchFamily="2" charset="0"/>
                <a:cs typeface="Helvetica Neue" panose="02000503000000020004" pitchFamily="2" charset="0"/>
              </a:defRPr>
            </a:lvl1pPr>
          </a:lstStyle>
          <a:p>
            <a:r>
              <a:rPr lang="en-US" sz="1200" dirty="0"/>
              <a:t>PCA in 2D for NGN2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E0C197A2-8E61-AE36-F8AC-2708435EF6B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1172" y="1025409"/>
            <a:ext cx="5551310" cy="4596464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6D95EA49-E689-192A-A1D9-954F5E617A5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59519" y="1025409"/>
            <a:ext cx="5108703" cy="46736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59825949"/>
      </p:ext>
    </p:extLst>
  </p:cSld>
  <p:clrMapOvr>
    <a:masterClrMapping/>
  </p:clrMapOvr>
  <p:transition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>
            <a:extLst>
              <a:ext uri="{FF2B5EF4-FFF2-40B4-BE49-F238E27FC236}">
                <a16:creationId xmlns:a16="http://schemas.microsoft.com/office/drawing/2014/main" id="{71843833-56D3-4FC1-AEEA-4056C71CF16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29" imgH="627" progId="TCLayout.ActiveDocument.1">
                  <p:embed/>
                </p:oleObj>
              </mc:Choice>
              <mc:Fallback>
                <p:oleObj name="think-cell Slide" r:id="rId4" imgW="629" imgH="627" progId="TCLayout.ActiveDocument.1">
                  <p:embed/>
                  <p:pic>
                    <p:nvPicPr>
                      <p:cNvPr id="21" name="Object 20" hidden="1">
                        <a:extLst>
                          <a:ext uri="{FF2B5EF4-FFF2-40B4-BE49-F238E27FC236}">
                            <a16:creationId xmlns:a16="http://schemas.microsoft.com/office/drawing/2014/main" id="{71843833-56D3-4FC1-AEEA-4056C71CF1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0" name="Title 1"/>
          <p:cNvSpPr txBox="1">
            <a:spLocks/>
          </p:cNvSpPr>
          <p:nvPr/>
        </p:nvSpPr>
        <p:spPr>
          <a:xfrm>
            <a:off x="4233" y="0"/>
            <a:ext cx="12187767" cy="783884"/>
          </a:xfrm>
          <a:prstGeom prst="rect">
            <a:avLst/>
          </a:prstGeom>
          <a:solidFill>
            <a:srgbClr val="013952">
              <a:alpha val="75000"/>
            </a:srgbClr>
          </a:solidFill>
        </p:spPr>
        <p:txBody>
          <a:bodyPr lIns="48768" anchor="ctr"/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52388" marR="0" lvl="0" indent="0" algn="ctr" defTabSz="609555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Narrow" panose="020B0606020202030204" pitchFamily="34" charset="0"/>
              <a:ea typeface="+mj-ea"/>
              <a:cs typeface="+mj-cs"/>
            </a:endParaRPr>
          </a:p>
        </p:txBody>
      </p:sp>
      <p:pic>
        <p:nvPicPr>
          <p:cNvPr id="3" name="Picture 2" descr="Graphical user interface, application&#10;&#10;Description automatically generated">
            <a:extLst>
              <a:ext uri="{FF2B5EF4-FFF2-40B4-BE49-F238E27FC236}">
                <a16:creationId xmlns:a16="http://schemas.microsoft.com/office/drawing/2014/main" id="{C807DED8-D364-3ADA-421A-B076E565AA6C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3546" y="1281847"/>
            <a:ext cx="5428007" cy="3453272"/>
          </a:xfrm>
          <a:prstGeom prst="rect">
            <a:avLst/>
          </a:prstGeom>
        </p:spPr>
      </p:pic>
      <p:pic>
        <p:nvPicPr>
          <p:cNvPr id="5" name="Picture 4" descr="Graphical user interface, chart, application, Excel&#10;&#10;Description automatically generated">
            <a:extLst>
              <a:ext uri="{FF2B5EF4-FFF2-40B4-BE49-F238E27FC236}">
                <a16:creationId xmlns:a16="http://schemas.microsoft.com/office/drawing/2014/main" id="{BE280841-9C5E-BBCE-4B20-D73CA2A3B250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01553" y="1281847"/>
            <a:ext cx="6486214" cy="3453272"/>
          </a:xfrm>
          <a:prstGeom prst="rect">
            <a:avLst/>
          </a:prstGeom>
        </p:spPr>
      </p:pic>
      <p:sp>
        <p:nvSpPr>
          <p:cNvPr id="7" name="Title 1">
            <a:extLst>
              <a:ext uri="{FF2B5EF4-FFF2-40B4-BE49-F238E27FC236}">
                <a16:creationId xmlns:a16="http://schemas.microsoft.com/office/drawing/2014/main" id="{28C5F217-8528-A61A-5036-89799B0BD573}"/>
              </a:ext>
            </a:extLst>
          </p:cNvPr>
          <p:cNvSpPr txBox="1">
            <a:spLocks/>
          </p:cNvSpPr>
          <p:nvPr/>
        </p:nvSpPr>
        <p:spPr>
          <a:xfrm>
            <a:off x="0" y="0"/>
            <a:ext cx="12187767" cy="783884"/>
          </a:xfrm>
          <a:prstGeom prst="rect">
            <a:avLst/>
          </a:prstGeom>
          <a:solidFill>
            <a:srgbClr val="013952">
              <a:alpha val="75000"/>
            </a:srgbClr>
          </a:solidFill>
        </p:spPr>
        <p:txBody>
          <a:bodyPr lIns="48768" anchor="ctr"/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spcBef>
                <a:spcPts val="200"/>
              </a:spcBef>
            </a:pPr>
            <a:r>
              <a:rPr lang="en-US" dirty="0">
                <a:solidFill>
                  <a:schemeClr val="bg1"/>
                </a:solidFill>
                <a:latin typeface="Arial Narrow" panose="020B0604020202020204" pitchFamily="34" charset="0"/>
                <a:ea typeface="Apple Symbols" panose="02000000000000000000" pitchFamily="2" charset="-79"/>
                <a:cs typeface="Arial Narrow" panose="020B0604020202020204" pitchFamily="34" charset="0"/>
              </a:rPr>
              <a:t>PCA of all samples</a:t>
            </a:r>
            <a:endParaRPr lang="en-US" sz="3600" dirty="0">
              <a:solidFill>
                <a:schemeClr val="bg1"/>
              </a:solidFill>
              <a:latin typeface="Arial Narrow" panose="020B0604020202020204" pitchFamily="34" charset="0"/>
              <a:ea typeface="Apple Symbols" panose="02000000000000000000" pitchFamily="2" charset="-79"/>
              <a:cs typeface="Arial Narrow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32393599"/>
      </p:ext>
    </p:extLst>
  </p:cSld>
  <p:clrMapOvr>
    <a:masterClrMapping/>
  </p:clrMapOvr>
  <p:transition>
    <p:fade/>
  </p:transition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A69C73D-5F16-A949-B8C3-18EE7187BD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3396" y="204645"/>
            <a:ext cx="9504883" cy="227901"/>
          </a:xfrm>
        </p:spPr>
        <p:txBody>
          <a:bodyPr/>
          <a:lstStyle/>
          <a:p>
            <a:r>
              <a:rPr lang="en-US" sz="1600" dirty="0"/>
              <a:t>Sample similarity from Gene Expression </a:t>
            </a:r>
            <a:r>
              <a:rPr lang="en-US" sz="1600" dirty="0">
                <a:solidFill>
                  <a:schemeClr val="accent5"/>
                </a:solidFill>
              </a:rPr>
              <a:t>(2</a:t>
            </a:r>
            <a:r>
              <a:rPr lang="en-US" sz="1600" baseline="30000" dirty="0">
                <a:solidFill>
                  <a:schemeClr val="accent5"/>
                </a:solidFill>
              </a:rPr>
              <a:t>nd</a:t>
            </a:r>
            <a:r>
              <a:rPr lang="en-US" sz="1600" dirty="0">
                <a:solidFill>
                  <a:schemeClr val="accent5"/>
                </a:solidFill>
              </a:rPr>
              <a:t>  exp raw after removal of R4)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D92BA944-F994-2845-A61D-AF8BD0CBBA30}"/>
              </a:ext>
            </a:extLst>
          </p:cNvPr>
          <p:cNvSpPr txBox="1">
            <a:spLocks/>
          </p:cNvSpPr>
          <p:nvPr/>
        </p:nvSpPr>
        <p:spPr>
          <a:xfrm>
            <a:off x="383397" y="655577"/>
            <a:ext cx="3957110" cy="227901"/>
          </a:xfrm>
          <a:prstGeom prst="rect">
            <a:avLst/>
          </a:prstGeom>
        </p:spPr>
        <p:txBody>
          <a:bodyPr vert="horz" lIns="91440" tIns="45720" rIns="0" bIns="45720" rtlCol="0" anchor="t">
            <a:noAutofit/>
          </a:bodyPr>
          <a:lstStyle>
            <a:lvl1pPr algn="l" defTabSz="609585" rtl="0" eaLnBrk="1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3733" b="1" i="0" kern="1200">
                <a:solidFill>
                  <a:schemeClr val="tx2"/>
                </a:solidFill>
                <a:latin typeface="+mj-lt"/>
                <a:ea typeface="Helvetica Neue" panose="02000503000000020004" pitchFamily="2" charset="0"/>
                <a:cs typeface="Helvetica Neue" panose="02000503000000020004" pitchFamily="2" charset="0"/>
              </a:defRPr>
            </a:lvl1pPr>
          </a:lstStyle>
          <a:p>
            <a:r>
              <a:rPr lang="en-US" sz="1200" dirty="0"/>
              <a:t>PCA in 2D for iPSC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C4CA0985-8E4C-AF45-9987-8D1765A504AD}"/>
              </a:ext>
            </a:extLst>
          </p:cNvPr>
          <p:cNvSpPr txBox="1">
            <a:spLocks/>
          </p:cNvSpPr>
          <p:nvPr/>
        </p:nvSpPr>
        <p:spPr>
          <a:xfrm>
            <a:off x="6459519" y="701814"/>
            <a:ext cx="3957110" cy="227901"/>
          </a:xfrm>
          <a:prstGeom prst="rect">
            <a:avLst/>
          </a:prstGeom>
        </p:spPr>
        <p:txBody>
          <a:bodyPr vert="horz" lIns="91440" tIns="45720" rIns="0" bIns="45720" rtlCol="0" anchor="t">
            <a:noAutofit/>
          </a:bodyPr>
          <a:lstStyle>
            <a:lvl1pPr algn="l" defTabSz="609585" rtl="0" eaLnBrk="1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3733" b="1" i="0" kern="1200">
                <a:solidFill>
                  <a:schemeClr val="tx2"/>
                </a:solidFill>
                <a:latin typeface="+mj-lt"/>
                <a:ea typeface="Helvetica Neue" panose="02000503000000020004" pitchFamily="2" charset="0"/>
                <a:cs typeface="Helvetica Neue" panose="02000503000000020004" pitchFamily="2" charset="0"/>
              </a:defRPr>
            </a:lvl1pPr>
          </a:lstStyle>
          <a:p>
            <a:r>
              <a:rPr lang="en-US" sz="1200" dirty="0"/>
              <a:t>PCA in 2D for NGN2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464AAE88-D027-3A7F-9620-253C53A39DA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2614" y="1152746"/>
            <a:ext cx="5916202" cy="4190643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5FB45804-5724-3261-8881-2B83F019C0F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89975" y="1198983"/>
            <a:ext cx="5850927" cy="41444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83439246"/>
      </p:ext>
    </p:extLst>
  </p:cSld>
  <p:clrMapOvr>
    <a:masterClrMapping/>
  </p:clrMapOvr>
  <p:transition>
    <p:fade/>
  </p:transition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>
            <a:extLst>
              <a:ext uri="{FF2B5EF4-FFF2-40B4-BE49-F238E27FC236}">
                <a16:creationId xmlns:a16="http://schemas.microsoft.com/office/drawing/2014/main" id="{71843833-56D3-4FC1-AEEA-4056C71CF16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29" imgH="627" progId="TCLayout.ActiveDocument.1">
                  <p:embed/>
                </p:oleObj>
              </mc:Choice>
              <mc:Fallback>
                <p:oleObj name="think-cell Slide" r:id="rId4" imgW="629" imgH="627" progId="TCLayout.ActiveDocument.1">
                  <p:embed/>
                  <p:pic>
                    <p:nvPicPr>
                      <p:cNvPr id="21" name="Object 20" hidden="1">
                        <a:extLst>
                          <a:ext uri="{FF2B5EF4-FFF2-40B4-BE49-F238E27FC236}">
                            <a16:creationId xmlns:a16="http://schemas.microsoft.com/office/drawing/2014/main" id="{71843833-56D3-4FC1-AEEA-4056C71CF1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0" name="Title 1"/>
          <p:cNvSpPr txBox="1">
            <a:spLocks/>
          </p:cNvSpPr>
          <p:nvPr/>
        </p:nvSpPr>
        <p:spPr>
          <a:xfrm>
            <a:off x="4233" y="0"/>
            <a:ext cx="12187767" cy="783884"/>
          </a:xfrm>
          <a:prstGeom prst="rect">
            <a:avLst/>
          </a:prstGeom>
          <a:solidFill>
            <a:srgbClr val="013952">
              <a:alpha val="75000"/>
            </a:srgbClr>
          </a:solidFill>
        </p:spPr>
        <p:txBody>
          <a:bodyPr lIns="48768" anchor="ctr"/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52388" marR="0" lvl="0" indent="0" algn="ctr" defTabSz="609555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Narrow" panose="020B0606020202030204" pitchFamily="34" charset="0"/>
                <a:ea typeface="+mj-ea"/>
                <a:cs typeface="+mj-cs"/>
              </a:rPr>
              <a:t>MultiQC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5F310540-D3EE-949D-08AC-9226660C41CC}"/>
              </a:ext>
            </a:extLst>
          </p:cNvPr>
          <p:cNvSpPr txBox="1"/>
          <p:nvPr/>
        </p:nvSpPr>
        <p:spPr>
          <a:xfrm>
            <a:off x="341745" y="5815696"/>
            <a:ext cx="737985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>
                <a:solidFill>
                  <a:srgbClr val="000000"/>
                </a:solidFill>
                <a:effectLst/>
                <a:latin typeface="Menlo" panose="020B0609030804020204" pitchFamily="49" charset="0"/>
              </a:rPr>
              <a:t>/Users/zgao1/Documents/RNAseq/TST11955_BACK/QC/MultiQC Report_TST11955.html </a:t>
            </a:r>
            <a:endParaRPr lang="en-US" dirty="0"/>
          </a:p>
        </p:txBody>
      </p:sp>
      <p:pic>
        <p:nvPicPr>
          <p:cNvPr id="4" name="Picture 3" descr="Chart, bar chart, surface chart&#10;&#10;Description automatically generated">
            <a:extLst>
              <a:ext uri="{FF2B5EF4-FFF2-40B4-BE49-F238E27FC236}">
                <a16:creationId xmlns:a16="http://schemas.microsoft.com/office/drawing/2014/main" id="{52E9EE64-1AB0-123F-9D9A-71F32069115F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5451" y="1257335"/>
            <a:ext cx="5382087" cy="4558361"/>
          </a:xfrm>
          <a:prstGeom prst="rect">
            <a:avLst/>
          </a:prstGeom>
        </p:spPr>
      </p:pic>
      <p:pic>
        <p:nvPicPr>
          <p:cNvPr id="6" name="Picture 5" descr="Chart, bar chart, histogram&#10;&#10;Description automatically generated">
            <a:extLst>
              <a:ext uri="{FF2B5EF4-FFF2-40B4-BE49-F238E27FC236}">
                <a16:creationId xmlns:a16="http://schemas.microsoft.com/office/drawing/2014/main" id="{C8CB2CFF-0EDB-BD09-90F3-C5FF36F9808A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06362" y="1257334"/>
            <a:ext cx="3010187" cy="5198883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99284370-33E7-5E8A-B5D0-979A2F72AA04}"/>
              </a:ext>
            </a:extLst>
          </p:cNvPr>
          <p:cNvSpPr txBox="1"/>
          <p:nvPr/>
        </p:nvSpPr>
        <p:spPr>
          <a:xfrm>
            <a:off x="2364510" y="835943"/>
            <a:ext cx="1403013" cy="369332"/>
          </a:xfrm>
          <a:prstGeom prst="rect">
            <a:avLst/>
          </a:prstGeom>
          <a:noFill/>
          <a:ln w="19050">
            <a:solidFill>
              <a:srgbClr val="0432FF"/>
            </a:solidFill>
          </a:ln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rgbClr val="0432FF"/>
                </a:solidFill>
              </a:rPr>
              <a:t>Total Reads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CBCFE499-DE20-A1A9-8C50-7F6F2608BE20}"/>
              </a:ext>
            </a:extLst>
          </p:cNvPr>
          <p:cNvSpPr txBox="1"/>
          <p:nvPr/>
        </p:nvSpPr>
        <p:spPr>
          <a:xfrm>
            <a:off x="8109679" y="835943"/>
            <a:ext cx="3412794" cy="369332"/>
          </a:xfrm>
          <a:prstGeom prst="rect">
            <a:avLst/>
          </a:prstGeom>
          <a:noFill/>
          <a:ln w="19050">
            <a:solidFill>
              <a:srgbClr val="0432FF"/>
            </a:solidFill>
          </a:ln>
        </p:spPr>
        <p:txBody>
          <a:bodyPr wrap="none" rtlCol="0">
            <a:spAutoFit/>
          </a:bodyPr>
          <a:lstStyle/>
          <a:p>
            <a:r>
              <a:rPr lang="en-US" b="0" i="0" dirty="0">
                <a:solidFill>
                  <a:srgbClr val="0432FF"/>
                </a:solidFill>
                <a:effectLst/>
                <a:latin typeface="Helvetica Neue" panose="02000503000000020004" pitchFamily="2" charset="0"/>
              </a:rPr>
              <a:t>Overrepresented Sequences %</a:t>
            </a:r>
            <a:endParaRPr lang="en-US" dirty="0">
              <a:solidFill>
                <a:srgbClr val="0432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05331174"/>
      </p:ext>
    </p:extLst>
  </p:cSld>
  <p:clrMapOvr>
    <a:masterClrMapping/>
  </p:clrMapOvr>
  <p:transition>
    <p:fade/>
  </p:transition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Diagram&#10;&#10;Description automatically generated">
            <a:extLst>
              <a:ext uri="{FF2B5EF4-FFF2-40B4-BE49-F238E27FC236}">
                <a16:creationId xmlns:a16="http://schemas.microsoft.com/office/drawing/2014/main" id="{93378427-5495-189A-9DC9-20819C7C043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42769" y="1296307"/>
            <a:ext cx="4546013" cy="4870938"/>
          </a:xfrm>
          <a:prstGeom prst="rect">
            <a:avLst/>
          </a:prstGeom>
        </p:spPr>
      </p:pic>
      <p:pic>
        <p:nvPicPr>
          <p:cNvPr id="6" name="Picture 5" descr="A picture containing text, stationary, screenshot&#10;&#10;Description automatically generated">
            <a:extLst>
              <a:ext uri="{FF2B5EF4-FFF2-40B4-BE49-F238E27FC236}">
                <a16:creationId xmlns:a16="http://schemas.microsoft.com/office/drawing/2014/main" id="{903ADF9F-B7C0-1976-0737-C11D84E390F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3497" y="1346905"/>
            <a:ext cx="4452419" cy="4820340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B4450901-49E8-11FC-9199-AF4436EE8526}"/>
              </a:ext>
            </a:extLst>
          </p:cNvPr>
          <p:cNvSpPr txBox="1"/>
          <p:nvPr/>
        </p:nvSpPr>
        <p:spPr>
          <a:xfrm>
            <a:off x="507303" y="723321"/>
            <a:ext cx="1146468" cy="369332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rgbClr val="1A3DFF"/>
                </a:solidFill>
              </a:rPr>
              <a:t>4 repeats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7469A65C-4111-B527-E074-FFF496E857C7}"/>
              </a:ext>
            </a:extLst>
          </p:cNvPr>
          <p:cNvSpPr txBox="1"/>
          <p:nvPr/>
        </p:nvSpPr>
        <p:spPr>
          <a:xfrm>
            <a:off x="6836299" y="723321"/>
            <a:ext cx="2018501" cy="369332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rgbClr val="1A3DFF"/>
                </a:solidFill>
              </a:rPr>
              <a:t>3 repeats (No R4)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FF0557C5-450C-83AE-A293-643C0EF36ECA}"/>
              </a:ext>
            </a:extLst>
          </p:cNvPr>
          <p:cNvSpPr/>
          <p:nvPr/>
        </p:nvSpPr>
        <p:spPr>
          <a:xfrm>
            <a:off x="1747158" y="1747158"/>
            <a:ext cx="1545772" cy="87085"/>
          </a:xfrm>
          <a:prstGeom prst="rect">
            <a:avLst/>
          </a:prstGeom>
          <a:noFill/>
          <a:ln>
            <a:solidFill>
              <a:srgbClr val="0432F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B0067A8-01B5-12DF-9C2A-EB37C66F2A8C}"/>
              </a:ext>
            </a:extLst>
          </p:cNvPr>
          <p:cNvSpPr/>
          <p:nvPr/>
        </p:nvSpPr>
        <p:spPr>
          <a:xfrm>
            <a:off x="3875315" y="1741716"/>
            <a:ext cx="1028699" cy="87085"/>
          </a:xfrm>
          <a:prstGeom prst="rect">
            <a:avLst/>
          </a:prstGeom>
          <a:noFill/>
          <a:ln>
            <a:solidFill>
              <a:srgbClr val="0432F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0664C412-3408-F51F-2D77-3BAA52456384}"/>
              </a:ext>
            </a:extLst>
          </p:cNvPr>
          <p:cNvSpPr txBox="1">
            <a:spLocks/>
          </p:cNvSpPr>
          <p:nvPr/>
        </p:nvSpPr>
        <p:spPr>
          <a:xfrm>
            <a:off x="4233" y="-29047"/>
            <a:ext cx="12187767" cy="783884"/>
          </a:xfrm>
          <a:prstGeom prst="rect">
            <a:avLst/>
          </a:prstGeom>
          <a:solidFill>
            <a:srgbClr val="013952">
              <a:alpha val="75000"/>
            </a:srgbClr>
          </a:solidFill>
        </p:spPr>
        <p:txBody>
          <a:bodyPr lIns="48768" anchor="ctr"/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52388" marR="0" lvl="0" indent="0" algn="ctr" defTabSz="609555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="0" dirty="0">
                <a:solidFill>
                  <a:schemeClr val="bg1"/>
                </a:solidFill>
              </a:rPr>
              <a:t>sashimi-plots: HTT gene in 2</a:t>
            </a:r>
            <a:r>
              <a:rPr lang="en-US" b="0" baseline="30000" dirty="0">
                <a:solidFill>
                  <a:schemeClr val="bg1"/>
                </a:solidFill>
              </a:rPr>
              <a:t>nd</a:t>
            </a:r>
            <a:r>
              <a:rPr lang="en-US" b="0" dirty="0">
                <a:solidFill>
                  <a:schemeClr val="bg1"/>
                </a:solidFill>
              </a:rPr>
              <a:t> 6152 (4 vs 3 Repeats)</a:t>
            </a:r>
            <a:endParaRPr kumimoji="0" lang="en-US" sz="36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 Narrow" panose="020B0606020202030204" pitchFamily="34" charset="0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2062681160"/>
      </p:ext>
    </p:extLst>
  </p:cSld>
  <p:clrMapOvr>
    <a:masterClrMapping/>
  </p:clrMapOvr>
  <p:transition>
    <p:fade/>
  </p:transition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Diagram&#10;&#10;Description automatically generated">
            <a:extLst>
              <a:ext uri="{FF2B5EF4-FFF2-40B4-BE49-F238E27FC236}">
                <a16:creationId xmlns:a16="http://schemas.microsoft.com/office/drawing/2014/main" id="{8D697E35-F3E5-CA59-62F7-C19FE20739B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7304" y="1003396"/>
            <a:ext cx="4631069" cy="4994641"/>
          </a:xfrm>
          <a:prstGeom prst="rect">
            <a:avLst/>
          </a:prstGeom>
        </p:spPr>
      </p:pic>
      <p:pic>
        <p:nvPicPr>
          <p:cNvPr id="4" name="Picture 3" descr="Diagram&#10;&#10;Description automatically generated">
            <a:extLst>
              <a:ext uri="{FF2B5EF4-FFF2-40B4-BE49-F238E27FC236}">
                <a16:creationId xmlns:a16="http://schemas.microsoft.com/office/drawing/2014/main" id="{47852B4E-9E9F-D2FB-922F-2009808E4142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998" b="70854"/>
          <a:stretch/>
        </p:blipFill>
        <p:spPr>
          <a:xfrm>
            <a:off x="6287982" y="852437"/>
            <a:ext cx="4661464" cy="806556"/>
          </a:xfrm>
          <a:prstGeom prst="rect">
            <a:avLst/>
          </a:prstGeom>
        </p:spPr>
      </p:pic>
      <p:sp>
        <p:nvSpPr>
          <p:cNvPr id="3" name="Title 1">
            <a:extLst>
              <a:ext uri="{FF2B5EF4-FFF2-40B4-BE49-F238E27FC236}">
                <a16:creationId xmlns:a16="http://schemas.microsoft.com/office/drawing/2014/main" id="{0C94C23B-4D18-8E4E-3EA5-409C95F5A316}"/>
              </a:ext>
            </a:extLst>
          </p:cNvPr>
          <p:cNvSpPr txBox="1">
            <a:spLocks/>
          </p:cNvSpPr>
          <p:nvPr/>
        </p:nvSpPr>
        <p:spPr>
          <a:xfrm>
            <a:off x="4233" y="-29047"/>
            <a:ext cx="12187767" cy="783884"/>
          </a:xfrm>
          <a:prstGeom prst="rect">
            <a:avLst/>
          </a:prstGeom>
          <a:solidFill>
            <a:srgbClr val="013952">
              <a:alpha val="75000"/>
            </a:srgbClr>
          </a:solidFill>
        </p:spPr>
        <p:txBody>
          <a:bodyPr lIns="48768" anchor="ctr"/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52388" marR="0" lvl="0" indent="0" algn="ctr" defTabSz="609555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="0" dirty="0">
                <a:solidFill>
                  <a:schemeClr val="bg1"/>
                </a:solidFill>
              </a:rPr>
              <a:t>sashimi-plots: HTT gene in 1</a:t>
            </a:r>
            <a:r>
              <a:rPr lang="en-US" b="0" baseline="30000" dirty="0">
                <a:solidFill>
                  <a:schemeClr val="bg1"/>
                </a:solidFill>
              </a:rPr>
              <a:t>st</a:t>
            </a:r>
            <a:r>
              <a:rPr lang="en-US" b="0" dirty="0">
                <a:solidFill>
                  <a:schemeClr val="bg1"/>
                </a:solidFill>
              </a:rPr>
              <a:t> and 2</a:t>
            </a:r>
            <a:r>
              <a:rPr lang="en-US" b="0" baseline="30000" dirty="0">
                <a:solidFill>
                  <a:schemeClr val="bg1"/>
                </a:solidFill>
              </a:rPr>
              <a:t>nd</a:t>
            </a:r>
            <a:r>
              <a:rPr lang="en-US" b="0" dirty="0">
                <a:solidFill>
                  <a:schemeClr val="bg1"/>
                </a:solidFill>
              </a:rPr>
              <a:t> 6152</a:t>
            </a:r>
            <a:endParaRPr kumimoji="0" lang="en-US" sz="36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 Narrow" panose="020B0606020202030204" pitchFamily="34" charset="0"/>
              <a:ea typeface="+mj-ea"/>
              <a:cs typeface="+mj-cs"/>
            </a:endParaRPr>
          </a:p>
        </p:txBody>
      </p:sp>
      <p:pic>
        <p:nvPicPr>
          <p:cNvPr id="7" name="Picture 6" descr="Diagram&#10;&#10;Description automatically generated">
            <a:extLst>
              <a:ext uri="{FF2B5EF4-FFF2-40B4-BE49-F238E27FC236}">
                <a16:creationId xmlns:a16="http://schemas.microsoft.com/office/drawing/2014/main" id="{A9A3391C-2375-851F-5288-CD6D3F61ADD7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304" t="76103" r="1"/>
          <a:stretch/>
        </p:blipFill>
        <p:spPr>
          <a:xfrm>
            <a:off x="6272786" y="4804490"/>
            <a:ext cx="4691857" cy="1193547"/>
          </a:xfrm>
          <a:prstGeom prst="rect">
            <a:avLst/>
          </a:prstGeom>
        </p:spPr>
      </p:pic>
      <p:pic>
        <p:nvPicPr>
          <p:cNvPr id="8" name="Picture 7" descr="Diagram&#10;&#10;Description automatically generated">
            <a:extLst>
              <a:ext uri="{FF2B5EF4-FFF2-40B4-BE49-F238E27FC236}">
                <a16:creationId xmlns:a16="http://schemas.microsoft.com/office/drawing/2014/main" id="{34E8A352-7B52-591C-D897-8B8FBF3D9958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6057" b="40052"/>
          <a:stretch/>
        </p:blipFill>
        <p:spPr>
          <a:xfrm>
            <a:off x="6333577" y="4042188"/>
            <a:ext cx="4631068" cy="693812"/>
          </a:xfrm>
          <a:prstGeom prst="rect">
            <a:avLst/>
          </a:prstGeom>
        </p:spPr>
      </p:pic>
      <p:pic>
        <p:nvPicPr>
          <p:cNvPr id="9" name="Picture 8" descr="Diagram&#10;&#10;Description automatically generated">
            <a:extLst>
              <a:ext uri="{FF2B5EF4-FFF2-40B4-BE49-F238E27FC236}">
                <a16:creationId xmlns:a16="http://schemas.microsoft.com/office/drawing/2014/main" id="{1B422B17-EEB0-D1AE-5B64-255489F592CC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10" t="59807" r="110" b="24044"/>
          <a:stretch/>
        </p:blipFill>
        <p:spPr>
          <a:xfrm>
            <a:off x="6303182" y="3215306"/>
            <a:ext cx="4661464" cy="806557"/>
          </a:xfrm>
          <a:prstGeom prst="rect">
            <a:avLst/>
          </a:prstGeom>
        </p:spPr>
      </p:pic>
      <p:pic>
        <p:nvPicPr>
          <p:cNvPr id="11" name="Picture 10" descr="Diagram&#10;&#10;Description automatically generated">
            <a:extLst>
              <a:ext uri="{FF2B5EF4-FFF2-40B4-BE49-F238E27FC236}">
                <a16:creationId xmlns:a16="http://schemas.microsoft.com/office/drawing/2014/main" id="{B1BF1876-E2EA-F9EE-CFC8-1CFFEA898F1C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52" b="85218"/>
          <a:stretch/>
        </p:blipFill>
        <p:spPr>
          <a:xfrm>
            <a:off x="6333577" y="1797151"/>
            <a:ext cx="4631070" cy="738327"/>
          </a:xfrm>
          <a:prstGeom prst="rect">
            <a:avLst/>
          </a:prstGeom>
        </p:spPr>
      </p:pic>
      <p:pic>
        <p:nvPicPr>
          <p:cNvPr id="12" name="Picture 11" descr="Diagram&#10;&#10;Description automatically generated">
            <a:extLst>
              <a:ext uri="{FF2B5EF4-FFF2-40B4-BE49-F238E27FC236}">
                <a16:creationId xmlns:a16="http://schemas.microsoft.com/office/drawing/2014/main" id="{9CF6FCA9-0167-8D45-2A49-2602987DDFB2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9331" b="54195"/>
          <a:stretch/>
        </p:blipFill>
        <p:spPr>
          <a:xfrm>
            <a:off x="6303182" y="2476979"/>
            <a:ext cx="4661464" cy="851072"/>
          </a:xfrm>
          <a:prstGeom prst="rect">
            <a:avLst/>
          </a:prstGeom>
        </p:spPr>
      </p:pic>
      <p:sp>
        <p:nvSpPr>
          <p:cNvPr id="14" name="Rectangle 13">
            <a:extLst>
              <a:ext uri="{FF2B5EF4-FFF2-40B4-BE49-F238E27FC236}">
                <a16:creationId xmlns:a16="http://schemas.microsoft.com/office/drawing/2014/main" id="{61048CAD-61E0-AE14-6958-BB045817B40A}"/>
              </a:ext>
            </a:extLst>
          </p:cNvPr>
          <p:cNvSpPr/>
          <p:nvPr/>
        </p:nvSpPr>
        <p:spPr>
          <a:xfrm>
            <a:off x="283029" y="920295"/>
            <a:ext cx="11108871" cy="750662"/>
          </a:xfrm>
          <a:prstGeom prst="rect">
            <a:avLst/>
          </a:prstGeom>
          <a:noFill/>
          <a:ln>
            <a:solidFill>
              <a:srgbClr val="FF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C9BD8687-C9E2-CFD8-4162-FFB6C81F5AE4}"/>
              </a:ext>
            </a:extLst>
          </p:cNvPr>
          <p:cNvSpPr/>
          <p:nvPr/>
        </p:nvSpPr>
        <p:spPr>
          <a:xfrm>
            <a:off x="283028" y="1730139"/>
            <a:ext cx="11108871" cy="750662"/>
          </a:xfrm>
          <a:prstGeom prst="rect">
            <a:avLst/>
          </a:prstGeom>
          <a:noFill/>
          <a:ln>
            <a:solidFill>
              <a:srgbClr val="00B05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E126CB9F-11D8-8166-BDFB-F1FFA1148993}"/>
              </a:ext>
            </a:extLst>
          </p:cNvPr>
          <p:cNvSpPr/>
          <p:nvPr/>
        </p:nvSpPr>
        <p:spPr>
          <a:xfrm>
            <a:off x="303989" y="3271201"/>
            <a:ext cx="11108871" cy="750662"/>
          </a:xfrm>
          <a:prstGeom prst="rect">
            <a:avLst/>
          </a:prstGeom>
          <a:noFill/>
          <a:ln>
            <a:solidFill>
              <a:srgbClr val="FF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F980A304-1DF4-5773-1D1F-E3A2F7F3FEC4}"/>
              </a:ext>
            </a:extLst>
          </p:cNvPr>
          <p:cNvSpPr/>
          <p:nvPr/>
        </p:nvSpPr>
        <p:spPr>
          <a:xfrm>
            <a:off x="303989" y="4077758"/>
            <a:ext cx="11108871" cy="750662"/>
          </a:xfrm>
          <a:prstGeom prst="rect">
            <a:avLst/>
          </a:prstGeom>
          <a:noFill/>
          <a:ln>
            <a:solidFill>
              <a:srgbClr val="00B05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FC32FE8-6F6B-5977-0FF2-00279462FFD7}"/>
              </a:ext>
            </a:extLst>
          </p:cNvPr>
          <p:cNvSpPr txBox="1"/>
          <p:nvPr/>
        </p:nvSpPr>
        <p:spPr>
          <a:xfrm>
            <a:off x="55244" y="942273"/>
            <a:ext cx="312906" cy="369332"/>
          </a:xfrm>
          <a:prstGeom prst="rect">
            <a:avLst/>
          </a:prstGeom>
          <a:noFill/>
          <a:ln w="19050">
            <a:solidFill>
              <a:schemeClr val="tx1"/>
            </a:solidFill>
          </a:ln>
        </p:spPr>
        <p:txBody>
          <a:bodyPr wrap="none" rtlCol="0">
            <a:spAutoFit/>
          </a:bodyPr>
          <a:lstStyle/>
          <a:p>
            <a:r>
              <a:rPr lang="en-US" dirty="0"/>
              <a:t>1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EC6070C2-D2C4-14F9-9698-1B5C72EC6AB4}"/>
              </a:ext>
            </a:extLst>
          </p:cNvPr>
          <p:cNvSpPr txBox="1"/>
          <p:nvPr/>
        </p:nvSpPr>
        <p:spPr>
          <a:xfrm>
            <a:off x="55244" y="1764693"/>
            <a:ext cx="312906" cy="369332"/>
          </a:xfrm>
          <a:prstGeom prst="rect">
            <a:avLst/>
          </a:prstGeom>
          <a:noFill/>
          <a:ln w="19050">
            <a:solidFill>
              <a:schemeClr val="tx1"/>
            </a:solidFill>
          </a:ln>
        </p:spPr>
        <p:txBody>
          <a:bodyPr wrap="none" rtlCol="0">
            <a:spAutoFit/>
          </a:bodyPr>
          <a:lstStyle/>
          <a:p>
            <a:r>
              <a:rPr lang="en-US" dirty="0"/>
              <a:t>2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FD497EA6-4A96-9A54-1CF8-E0613CB5CA9F}"/>
              </a:ext>
            </a:extLst>
          </p:cNvPr>
          <p:cNvSpPr txBox="1"/>
          <p:nvPr/>
        </p:nvSpPr>
        <p:spPr>
          <a:xfrm>
            <a:off x="55244" y="3301462"/>
            <a:ext cx="312906" cy="369332"/>
          </a:xfrm>
          <a:prstGeom prst="rect">
            <a:avLst/>
          </a:prstGeom>
          <a:noFill/>
          <a:ln w="19050">
            <a:solidFill>
              <a:schemeClr val="tx1"/>
            </a:solidFill>
          </a:ln>
        </p:spPr>
        <p:txBody>
          <a:bodyPr wrap="none" rtlCol="0">
            <a:spAutoFit/>
          </a:bodyPr>
          <a:lstStyle/>
          <a:p>
            <a:r>
              <a:rPr lang="en-US" dirty="0"/>
              <a:t>3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831256DD-8BCA-D9BB-C62D-7183F547AAC2}"/>
              </a:ext>
            </a:extLst>
          </p:cNvPr>
          <p:cNvSpPr txBox="1"/>
          <p:nvPr/>
        </p:nvSpPr>
        <p:spPr>
          <a:xfrm>
            <a:off x="54998" y="4136424"/>
            <a:ext cx="312906" cy="369332"/>
          </a:xfrm>
          <a:prstGeom prst="rect">
            <a:avLst/>
          </a:prstGeom>
          <a:noFill/>
          <a:ln w="19050"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en-US" dirty="0"/>
              <a:t>4</a:t>
            </a:r>
          </a:p>
        </p:txBody>
      </p:sp>
    </p:spTree>
    <p:extLst>
      <p:ext uri="{BB962C8B-B14F-4D97-AF65-F5344CB8AC3E}">
        <p14:creationId xmlns:p14="http://schemas.microsoft.com/office/powerpoint/2010/main" val="3383383469"/>
      </p:ext>
    </p:extLst>
  </p:cSld>
  <p:clrMapOvr>
    <a:masterClrMapping/>
  </p:clrMapOvr>
  <p:transition>
    <p:fade/>
  </p:transition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Chart, bar chart&#10;&#10;Description automatically generated">
            <a:extLst>
              <a:ext uri="{FF2B5EF4-FFF2-40B4-BE49-F238E27FC236}">
                <a16:creationId xmlns:a16="http://schemas.microsoft.com/office/drawing/2014/main" id="{E7762930-BC9E-30F1-F50F-EDDE375D452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04241" y="1122647"/>
            <a:ext cx="2931407" cy="2995782"/>
          </a:xfrm>
          <a:prstGeom prst="rect">
            <a:avLst/>
          </a:prstGeom>
        </p:spPr>
      </p:pic>
      <p:pic>
        <p:nvPicPr>
          <p:cNvPr id="12" name="Picture 11" descr="Chart, bar chart&#10;&#10;Description automatically generated">
            <a:extLst>
              <a:ext uri="{FF2B5EF4-FFF2-40B4-BE49-F238E27FC236}">
                <a16:creationId xmlns:a16="http://schemas.microsoft.com/office/drawing/2014/main" id="{4FE9ED7E-A986-467F-2651-D589A7E451B7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025" b="13592"/>
          <a:stretch/>
        </p:blipFill>
        <p:spPr>
          <a:xfrm>
            <a:off x="6825342" y="3739244"/>
            <a:ext cx="5366657" cy="2710543"/>
          </a:xfrm>
          <a:prstGeom prst="rect">
            <a:avLst/>
          </a:prstGeom>
        </p:spPr>
      </p:pic>
      <p:pic>
        <p:nvPicPr>
          <p:cNvPr id="14" name="Picture 13" descr="Chart, bar chart&#10;&#10;Description automatically generated">
            <a:extLst>
              <a:ext uri="{FF2B5EF4-FFF2-40B4-BE49-F238E27FC236}">
                <a16:creationId xmlns:a16="http://schemas.microsoft.com/office/drawing/2014/main" id="{AC19FD33-4BB7-0D84-B7CF-FC3B1FB77199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0474" y="1122647"/>
            <a:ext cx="5366657" cy="3074845"/>
          </a:xfrm>
          <a:prstGeom prst="rect">
            <a:avLst/>
          </a:prstGeom>
        </p:spPr>
      </p:pic>
      <p:pic>
        <p:nvPicPr>
          <p:cNvPr id="16" name="Picture 15" descr="Chart&#10;&#10;Description automatically generated">
            <a:extLst>
              <a:ext uri="{FF2B5EF4-FFF2-40B4-BE49-F238E27FC236}">
                <a16:creationId xmlns:a16="http://schemas.microsoft.com/office/drawing/2014/main" id="{D2968F8F-F9C8-67A5-0F05-140AA938A53B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4091"/>
          <a:stretch/>
        </p:blipFill>
        <p:spPr>
          <a:xfrm>
            <a:off x="1387626" y="3739244"/>
            <a:ext cx="4387245" cy="2623457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5EF5F37D-060F-37D6-1286-73D31A966A0A}"/>
              </a:ext>
            </a:extLst>
          </p:cNvPr>
          <p:cNvSpPr txBox="1"/>
          <p:nvPr/>
        </p:nvSpPr>
        <p:spPr>
          <a:xfrm>
            <a:off x="326571" y="1311729"/>
            <a:ext cx="1023037" cy="369332"/>
          </a:xfrm>
          <a:prstGeom prst="rect">
            <a:avLst/>
          </a:prstGeom>
          <a:noFill/>
          <a:ln>
            <a:solidFill>
              <a:srgbClr val="0432FF"/>
            </a:solidFill>
          </a:ln>
        </p:spPr>
        <p:txBody>
          <a:bodyPr wrap="none" rtlCol="0">
            <a:spAutoFit/>
          </a:bodyPr>
          <a:lstStyle/>
          <a:p>
            <a:r>
              <a:rPr lang="en-US" dirty="0">
                <a:ln>
                  <a:solidFill>
                    <a:srgbClr val="0432FF"/>
                  </a:solidFill>
                </a:ln>
              </a:rPr>
              <a:t>1</a:t>
            </a:r>
            <a:r>
              <a:rPr lang="en-US" baseline="30000" dirty="0">
                <a:ln>
                  <a:solidFill>
                    <a:srgbClr val="0432FF"/>
                  </a:solidFill>
                </a:ln>
              </a:rPr>
              <a:t>st</a:t>
            </a:r>
            <a:r>
              <a:rPr lang="en-US" dirty="0">
                <a:ln>
                  <a:solidFill>
                    <a:srgbClr val="0432FF"/>
                  </a:solidFill>
                </a:ln>
              </a:rPr>
              <a:t> iPSC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090AB5FD-9F78-D101-CF9E-056B94A58C1D}"/>
              </a:ext>
            </a:extLst>
          </p:cNvPr>
          <p:cNvSpPr txBox="1"/>
          <p:nvPr/>
        </p:nvSpPr>
        <p:spPr>
          <a:xfrm>
            <a:off x="326570" y="3933763"/>
            <a:ext cx="1138453" cy="369332"/>
          </a:xfrm>
          <a:prstGeom prst="rect">
            <a:avLst/>
          </a:prstGeom>
          <a:noFill/>
          <a:ln>
            <a:solidFill>
              <a:srgbClr val="0432FF"/>
            </a:solidFill>
          </a:ln>
        </p:spPr>
        <p:txBody>
          <a:bodyPr wrap="none" rtlCol="0">
            <a:spAutoFit/>
          </a:bodyPr>
          <a:lstStyle/>
          <a:p>
            <a:r>
              <a:rPr lang="en-US" dirty="0">
                <a:ln>
                  <a:solidFill>
                    <a:srgbClr val="0432FF"/>
                  </a:solidFill>
                </a:ln>
              </a:rPr>
              <a:t>1</a:t>
            </a:r>
            <a:r>
              <a:rPr lang="en-US" baseline="30000" dirty="0">
                <a:ln>
                  <a:solidFill>
                    <a:srgbClr val="0432FF"/>
                  </a:solidFill>
                </a:ln>
              </a:rPr>
              <a:t>st</a:t>
            </a:r>
            <a:r>
              <a:rPr lang="en-US" dirty="0">
                <a:ln>
                  <a:solidFill>
                    <a:srgbClr val="0432FF"/>
                  </a:solidFill>
                </a:ln>
              </a:rPr>
              <a:t> NGN2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6B5009F6-40DE-163E-0C57-AD64F54F03C0}"/>
              </a:ext>
            </a:extLst>
          </p:cNvPr>
          <p:cNvSpPr txBox="1"/>
          <p:nvPr/>
        </p:nvSpPr>
        <p:spPr>
          <a:xfrm>
            <a:off x="6537955" y="1311729"/>
            <a:ext cx="1072730" cy="369332"/>
          </a:xfrm>
          <a:prstGeom prst="rect">
            <a:avLst/>
          </a:prstGeom>
          <a:noFill/>
          <a:ln>
            <a:solidFill>
              <a:srgbClr val="0432FF"/>
            </a:solidFill>
          </a:ln>
        </p:spPr>
        <p:txBody>
          <a:bodyPr wrap="none" rtlCol="0">
            <a:spAutoFit/>
          </a:bodyPr>
          <a:lstStyle/>
          <a:p>
            <a:r>
              <a:rPr lang="en-US" dirty="0">
                <a:ln>
                  <a:solidFill>
                    <a:srgbClr val="0432FF"/>
                  </a:solidFill>
                </a:ln>
              </a:rPr>
              <a:t>2</a:t>
            </a:r>
            <a:r>
              <a:rPr lang="en-US" baseline="30000" dirty="0">
                <a:ln>
                  <a:solidFill>
                    <a:srgbClr val="0432FF"/>
                  </a:solidFill>
                </a:ln>
              </a:rPr>
              <a:t>nd</a:t>
            </a:r>
            <a:r>
              <a:rPr lang="en-US" dirty="0">
                <a:ln>
                  <a:solidFill>
                    <a:srgbClr val="0432FF"/>
                  </a:solidFill>
                </a:ln>
              </a:rPr>
              <a:t> iPSC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64787CC6-B65A-D172-B40C-5137DB3F5414}"/>
              </a:ext>
            </a:extLst>
          </p:cNvPr>
          <p:cNvSpPr txBox="1"/>
          <p:nvPr/>
        </p:nvSpPr>
        <p:spPr>
          <a:xfrm>
            <a:off x="6537955" y="3928326"/>
            <a:ext cx="1188146" cy="369332"/>
          </a:xfrm>
          <a:prstGeom prst="rect">
            <a:avLst/>
          </a:prstGeom>
          <a:noFill/>
          <a:ln>
            <a:solidFill>
              <a:srgbClr val="0432FF"/>
            </a:solidFill>
          </a:ln>
        </p:spPr>
        <p:txBody>
          <a:bodyPr wrap="none" rtlCol="0">
            <a:spAutoFit/>
          </a:bodyPr>
          <a:lstStyle/>
          <a:p>
            <a:r>
              <a:rPr lang="en-US" dirty="0">
                <a:ln>
                  <a:solidFill>
                    <a:srgbClr val="0432FF"/>
                  </a:solidFill>
                </a:ln>
              </a:rPr>
              <a:t>2</a:t>
            </a:r>
            <a:r>
              <a:rPr lang="en-US" baseline="30000" dirty="0">
                <a:ln>
                  <a:solidFill>
                    <a:srgbClr val="0432FF"/>
                  </a:solidFill>
                </a:ln>
              </a:rPr>
              <a:t>nd</a:t>
            </a:r>
            <a:r>
              <a:rPr lang="en-US" dirty="0">
                <a:ln>
                  <a:solidFill>
                    <a:srgbClr val="0432FF"/>
                  </a:solidFill>
                </a:ln>
              </a:rPr>
              <a:t> NGN2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8BE8A731-30DD-3ABA-BAA5-8E52C35DDCB8}"/>
              </a:ext>
            </a:extLst>
          </p:cNvPr>
          <p:cNvCxnSpPr>
            <a:cxnSpLocks/>
          </p:cNvCxnSpPr>
          <p:nvPr/>
        </p:nvCxnSpPr>
        <p:spPr>
          <a:xfrm flipV="1">
            <a:off x="5557157" y="2873829"/>
            <a:ext cx="0" cy="2994311"/>
          </a:xfrm>
          <a:prstGeom prst="line">
            <a:avLst/>
          </a:prstGeom>
          <a:ln/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F9BD471E-7413-B42D-5F6B-FC3DC6B6177E}"/>
              </a:ext>
            </a:extLst>
          </p:cNvPr>
          <p:cNvCxnSpPr>
            <a:cxnSpLocks/>
          </p:cNvCxnSpPr>
          <p:nvPr/>
        </p:nvCxnSpPr>
        <p:spPr>
          <a:xfrm flipV="1">
            <a:off x="10624830" y="2914095"/>
            <a:ext cx="0" cy="3075011"/>
          </a:xfrm>
          <a:prstGeom prst="line">
            <a:avLst/>
          </a:prstGeom>
          <a:ln/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  <p:sp>
        <p:nvSpPr>
          <p:cNvPr id="15" name="Title 1">
            <a:extLst>
              <a:ext uri="{FF2B5EF4-FFF2-40B4-BE49-F238E27FC236}">
                <a16:creationId xmlns:a16="http://schemas.microsoft.com/office/drawing/2014/main" id="{10C55BEE-EDCE-E3D0-AC2B-855F6A7CAA36}"/>
              </a:ext>
            </a:extLst>
          </p:cNvPr>
          <p:cNvSpPr txBox="1">
            <a:spLocks/>
          </p:cNvSpPr>
          <p:nvPr/>
        </p:nvSpPr>
        <p:spPr>
          <a:xfrm>
            <a:off x="4233" y="0"/>
            <a:ext cx="12187767" cy="783884"/>
          </a:xfrm>
          <a:prstGeom prst="rect">
            <a:avLst/>
          </a:prstGeom>
          <a:solidFill>
            <a:srgbClr val="013952">
              <a:alpha val="75000"/>
            </a:srgbClr>
          </a:solidFill>
        </p:spPr>
        <p:txBody>
          <a:bodyPr lIns="48768" anchor="ctr"/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52388" marR="0" lvl="0" indent="0" algn="ctr" defTabSz="609555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>
                <a:solidFill>
                  <a:schemeClr val="bg1"/>
                </a:solidFill>
              </a:rPr>
              <a:t>The numbers of DSG induced by compounds (3x)</a:t>
            </a:r>
            <a:endParaRPr kumimoji="0" lang="en-US" sz="360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 Narrow" panose="020B0606020202030204" pitchFamily="34" charset="0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3337151455"/>
      </p:ext>
    </p:extLst>
  </p:cSld>
  <p:clrMapOvr>
    <a:masterClrMapping/>
  </p:clrMapOvr>
  <p:transition>
    <p:fade/>
  </p:transition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Picture 23">
            <a:extLst>
              <a:ext uri="{FF2B5EF4-FFF2-40B4-BE49-F238E27FC236}">
                <a16:creationId xmlns:a16="http://schemas.microsoft.com/office/drawing/2014/main" id="{080E7E69-24E2-715F-1358-BA0367E07A6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3393" y="1344604"/>
            <a:ext cx="11282175" cy="4851478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1B773793-2E6A-B3B8-A6D2-960E5B607C1A}"/>
              </a:ext>
            </a:extLst>
          </p:cNvPr>
          <p:cNvSpPr/>
          <p:nvPr/>
        </p:nvSpPr>
        <p:spPr>
          <a:xfrm>
            <a:off x="3336471" y="1285173"/>
            <a:ext cx="1518557" cy="3774842"/>
          </a:xfrm>
          <a:prstGeom prst="rect">
            <a:avLst/>
          </a:prstGeom>
          <a:noFill/>
          <a:ln w="19050">
            <a:solidFill>
              <a:srgbClr val="0432F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n>
                <a:solidFill>
                  <a:srgbClr val="FF0000"/>
                </a:solidFill>
              </a:ln>
              <a:noFill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3F1A9BFD-A2A9-8603-E0C6-82087697F6D9}"/>
              </a:ext>
            </a:extLst>
          </p:cNvPr>
          <p:cNvSpPr/>
          <p:nvPr/>
        </p:nvSpPr>
        <p:spPr>
          <a:xfrm>
            <a:off x="1861456" y="1285173"/>
            <a:ext cx="1475015" cy="4980214"/>
          </a:xfrm>
          <a:prstGeom prst="rect">
            <a:avLst/>
          </a:prstGeom>
          <a:noFill/>
          <a:ln w="19050">
            <a:solidFill>
              <a:srgbClr val="FF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n>
                <a:solidFill>
                  <a:srgbClr val="FF0000"/>
                </a:solidFill>
              </a:ln>
              <a:noFill/>
            </a:endParaRP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370822DD-F1D0-B97F-C707-F6C4742E85F4}"/>
              </a:ext>
            </a:extLst>
          </p:cNvPr>
          <p:cNvSpPr txBox="1">
            <a:spLocks/>
          </p:cNvSpPr>
          <p:nvPr/>
        </p:nvSpPr>
        <p:spPr>
          <a:xfrm>
            <a:off x="4233" y="0"/>
            <a:ext cx="12187767" cy="783884"/>
          </a:xfrm>
          <a:prstGeom prst="rect">
            <a:avLst/>
          </a:prstGeom>
          <a:solidFill>
            <a:srgbClr val="013952">
              <a:alpha val="75000"/>
            </a:srgbClr>
          </a:solidFill>
        </p:spPr>
        <p:txBody>
          <a:bodyPr lIns="48768" anchor="ctr"/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52388" marR="0" lvl="0" indent="0" algn="ctr" defTabSz="609555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>
                <a:solidFill>
                  <a:schemeClr val="bg1"/>
                </a:solidFill>
              </a:rPr>
              <a:t>The details DSG induced by compounds (3x &amp; 10x)</a:t>
            </a:r>
            <a:endParaRPr kumimoji="0" lang="en-US" sz="360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 Narrow" panose="020B0606020202030204" pitchFamily="34" charset="0"/>
              <a:ea typeface="+mj-ea"/>
              <a:cs typeface="+mj-cs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27563578-EC95-1E41-8208-BF82E9A5A5CB}"/>
              </a:ext>
            </a:extLst>
          </p:cNvPr>
          <p:cNvSpPr txBox="1"/>
          <p:nvPr/>
        </p:nvSpPr>
        <p:spPr>
          <a:xfrm>
            <a:off x="1105973" y="861571"/>
            <a:ext cx="4993675" cy="369332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none" rtlCol="0">
            <a:spAutoFit/>
          </a:bodyPr>
          <a:lstStyle/>
          <a:p>
            <a:r>
              <a:rPr lang="en-US" dirty="0"/>
              <a:t>6152 1st iPSC &amp; NGN2 and 2nd iPSC &amp; NGN2</a:t>
            </a:r>
          </a:p>
        </p:txBody>
      </p:sp>
    </p:spTree>
    <p:extLst>
      <p:ext uri="{BB962C8B-B14F-4D97-AF65-F5344CB8AC3E}">
        <p14:creationId xmlns:p14="http://schemas.microsoft.com/office/powerpoint/2010/main" val="2692979747"/>
      </p:ext>
    </p:extLst>
  </p:cSld>
  <p:clrMapOvr>
    <a:masterClrMapping/>
  </p:clrMapOvr>
  <p:transition>
    <p:fade/>
  </p:transition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>
            <a:extLst>
              <a:ext uri="{FF2B5EF4-FFF2-40B4-BE49-F238E27FC236}">
                <a16:creationId xmlns:a16="http://schemas.microsoft.com/office/drawing/2014/main" id="{71843833-56D3-4FC1-AEEA-4056C71CF16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29" imgH="627" progId="TCLayout.ActiveDocument.1">
                  <p:embed/>
                </p:oleObj>
              </mc:Choice>
              <mc:Fallback>
                <p:oleObj name="think-cell Slide" r:id="rId4" imgW="629" imgH="627" progId="TCLayout.ActiveDocument.1">
                  <p:embed/>
                  <p:pic>
                    <p:nvPicPr>
                      <p:cNvPr id="21" name="Object 20" hidden="1">
                        <a:extLst>
                          <a:ext uri="{FF2B5EF4-FFF2-40B4-BE49-F238E27FC236}">
                            <a16:creationId xmlns:a16="http://schemas.microsoft.com/office/drawing/2014/main" id="{71843833-56D3-4FC1-AEEA-4056C71CF1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0" name="Title 1"/>
          <p:cNvSpPr txBox="1">
            <a:spLocks/>
          </p:cNvSpPr>
          <p:nvPr/>
        </p:nvSpPr>
        <p:spPr>
          <a:xfrm>
            <a:off x="4233" y="0"/>
            <a:ext cx="12187767" cy="783884"/>
          </a:xfrm>
          <a:prstGeom prst="rect">
            <a:avLst/>
          </a:prstGeom>
          <a:solidFill>
            <a:srgbClr val="013952">
              <a:alpha val="75000"/>
            </a:srgbClr>
          </a:solidFill>
        </p:spPr>
        <p:txBody>
          <a:bodyPr lIns="48768" anchor="ctr"/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52388" marR="0" lvl="0" indent="0" algn="ctr" defTabSz="609555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Narrow" panose="020B0606020202030204" pitchFamily="34" charset="0"/>
                <a:ea typeface="+mj-ea"/>
                <a:cs typeface="+mj-cs"/>
              </a:rPr>
              <a:t>The DSG Induced </a:t>
            </a:r>
            <a:r>
              <a:rPr lang="en-US" dirty="0">
                <a:solidFill>
                  <a:srgbClr val="FFFFFF"/>
                </a:solidFill>
                <a:latin typeface="Arial Narrow" panose="020B0606020202030204" pitchFamily="34" charset="0"/>
              </a:rPr>
              <a:t>by Compounds in the 2 cell systems</a:t>
            </a:r>
            <a:endParaRPr kumimoji="0" lang="en-US" sz="3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Narrow" panose="020B0606020202030204" pitchFamily="34" charset="0"/>
              <a:ea typeface="+mj-ea"/>
              <a:cs typeface="+mj-cs"/>
            </a:endParaRPr>
          </a:p>
        </p:txBody>
      </p:sp>
      <p:graphicFrame>
        <p:nvGraphicFramePr>
          <p:cNvPr id="4" name="Object 3">
            <a:extLst>
              <a:ext uri="{FF2B5EF4-FFF2-40B4-BE49-F238E27FC236}">
                <a16:creationId xmlns:a16="http://schemas.microsoft.com/office/drawing/2014/main" id="{4CFEEFBB-CAC1-5EEB-B871-6CABC120102E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372909956"/>
              </p:ext>
            </p:extLst>
          </p:nvPr>
        </p:nvGraphicFramePr>
        <p:xfrm>
          <a:off x="9832066" y="5631770"/>
          <a:ext cx="965200" cy="6096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Worksheet" showAsIcon="1" r:id="rId6" imgW="965200" imgH="609600" progId="Excel.Sheet.12">
                  <p:embed/>
                </p:oleObj>
              </mc:Choice>
              <mc:Fallback>
                <p:oleObj name="Worksheet" showAsIcon="1" r:id="rId6" imgW="965200" imgH="609600" progId="Excel.Sheet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9832066" y="5631770"/>
                        <a:ext cx="965200" cy="6096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5" name="Object 4">
            <a:extLst>
              <a:ext uri="{FF2B5EF4-FFF2-40B4-BE49-F238E27FC236}">
                <a16:creationId xmlns:a16="http://schemas.microsoft.com/office/drawing/2014/main" id="{47A744C4-41FA-3298-9BD7-8E9AA162BA63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8237807"/>
              </p:ext>
            </p:extLst>
          </p:nvPr>
        </p:nvGraphicFramePr>
        <p:xfrm>
          <a:off x="1088342" y="823233"/>
          <a:ext cx="8364990" cy="541813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Worksheet" r:id="rId8" imgW="28092400" imgH="34366200" progId="Excel.Sheet.12">
                  <p:embed/>
                </p:oleObj>
              </mc:Choice>
              <mc:Fallback>
                <p:oleObj name="Worksheet" r:id="rId8" imgW="28092400" imgH="34366200" progId="Excel.Sheet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088342" y="823233"/>
                        <a:ext cx="8364990" cy="541813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Object 8">
            <a:extLst>
              <a:ext uri="{FF2B5EF4-FFF2-40B4-BE49-F238E27FC236}">
                <a16:creationId xmlns:a16="http://schemas.microsoft.com/office/drawing/2014/main" id="{8F0513F2-3793-8396-C53E-96F78D601267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61490329"/>
              </p:ext>
            </p:extLst>
          </p:nvPr>
        </p:nvGraphicFramePr>
        <p:xfrm>
          <a:off x="10985500" y="5631770"/>
          <a:ext cx="965200" cy="6096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Worksheet" showAsIcon="1" r:id="rId10" imgW="965200" imgH="609600" progId="Excel.Sheet.12">
                  <p:embed/>
                </p:oleObj>
              </mc:Choice>
              <mc:Fallback>
                <p:oleObj name="Worksheet" showAsIcon="1" r:id="rId10" imgW="965200" imgH="609600" progId="Excel.Sheet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0985500" y="5631770"/>
                        <a:ext cx="965200" cy="6096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4020084830"/>
      </p:ext>
    </p:extLst>
  </p:cSld>
  <p:clrMapOvr>
    <a:masterClrMapping/>
  </p:clrMapOvr>
  <p:transition>
    <p:fade/>
  </p:transition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>
            <a:extLst>
              <a:ext uri="{FF2B5EF4-FFF2-40B4-BE49-F238E27FC236}">
                <a16:creationId xmlns:a16="http://schemas.microsoft.com/office/drawing/2014/main" id="{71843833-56D3-4FC1-AEEA-4056C71CF16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29" imgH="627" progId="TCLayout.ActiveDocument.1">
                  <p:embed/>
                </p:oleObj>
              </mc:Choice>
              <mc:Fallback>
                <p:oleObj name="think-cell Slide" r:id="rId4" imgW="629" imgH="627" progId="TCLayout.ActiveDocument.1">
                  <p:embed/>
                  <p:pic>
                    <p:nvPicPr>
                      <p:cNvPr id="21" name="Object 20" hidden="1">
                        <a:extLst>
                          <a:ext uri="{FF2B5EF4-FFF2-40B4-BE49-F238E27FC236}">
                            <a16:creationId xmlns:a16="http://schemas.microsoft.com/office/drawing/2014/main" id="{71843833-56D3-4FC1-AEEA-4056C71CF1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0" name="Title 1"/>
          <p:cNvSpPr txBox="1">
            <a:spLocks/>
          </p:cNvSpPr>
          <p:nvPr/>
        </p:nvSpPr>
        <p:spPr>
          <a:xfrm>
            <a:off x="4233" y="0"/>
            <a:ext cx="12187767" cy="783884"/>
          </a:xfrm>
          <a:prstGeom prst="rect">
            <a:avLst/>
          </a:prstGeom>
          <a:solidFill>
            <a:srgbClr val="013952">
              <a:alpha val="75000"/>
            </a:srgbClr>
          </a:solidFill>
        </p:spPr>
        <p:txBody>
          <a:bodyPr lIns="48768" anchor="ctr"/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52388" marR="0" lvl="0" indent="0" algn="ctr" defTabSz="609555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Narrow" panose="020B0606020202030204" pitchFamily="34" charset="0"/>
                <a:ea typeface="+mj-ea"/>
                <a:cs typeface="+mj-cs"/>
              </a:rPr>
              <a:t>The Clustering of </a:t>
            </a:r>
            <a:r>
              <a:rPr lang="en-US" dirty="0">
                <a:solidFill>
                  <a:srgbClr val="FFFFFF"/>
                </a:solidFill>
                <a:latin typeface="Arial Narrow" panose="020B0606020202030204" pitchFamily="34" charset="0"/>
              </a:rPr>
              <a:t>Compounds in the 2 cell systems</a:t>
            </a:r>
            <a:endParaRPr kumimoji="0" lang="en-US" sz="3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Narrow" panose="020B0606020202030204" pitchFamily="34" charset="0"/>
              <a:ea typeface="+mj-ea"/>
              <a:cs typeface="+mj-cs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091DFEFA-DF1B-C623-79A2-1018123F3385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15115" y="989748"/>
            <a:ext cx="2876621" cy="5239221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52378404-D749-105A-5D9D-3AB2B143EE98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5839" y="989748"/>
            <a:ext cx="2809801" cy="4878504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2589B548-EDE9-51AA-9FBD-E237E0539BFA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86199" y="989748"/>
            <a:ext cx="2741739" cy="4964545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5DF95776-4E18-77A4-8C60-44E73D99238D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30432" y="989748"/>
            <a:ext cx="2778442" cy="52392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55313270"/>
      </p:ext>
    </p:extLst>
  </p:cSld>
  <p:clrMapOvr>
    <a:masterClrMapping/>
  </p:clrMapOvr>
  <p:transition>
    <p:fade/>
  </p:transition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A69C73D-5F16-A949-B8C3-18EE7187BD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000" dirty="0"/>
              <a:t>Overlapped DSG (</a:t>
            </a:r>
            <a:r>
              <a:rPr lang="en-US" sz="2000" dirty="0">
                <a:solidFill>
                  <a:srgbClr val="0432FF"/>
                </a:solidFill>
              </a:rPr>
              <a:t>1</a:t>
            </a:r>
            <a:r>
              <a:rPr lang="en-US" sz="2000" baseline="30000" dirty="0">
                <a:solidFill>
                  <a:srgbClr val="0432FF"/>
                </a:solidFill>
              </a:rPr>
              <a:t>st</a:t>
            </a:r>
            <a:r>
              <a:rPr lang="en-US" sz="2000" dirty="0">
                <a:solidFill>
                  <a:srgbClr val="0432FF"/>
                </a:solidFill>
              </a:rPr>
              <a:t> and 2</a:t>
            </a:r>
            <a:r>
              <a:rPr lang="en-US" sz="2000" baseline="30000" dirty="0">
                <a:solidFill>
                  <a:srgbClr val="0432FF"/>
                </a:solidFill>
              </a:rPr>
              <a:t>nd</a:t>
            </a:r>
            <a:r>
              <a:rPr lang="en-US" sz="2000" dirty="0">
                <a:solidFill>
                  <a:srgbClr val="0432FF"/>
                </a:solidFill>
              </a:rPr>
              <a:t> Exp.</a:t>
            </a:r>
            <a:r>
              <a:rPr lang="en-US" sz="2000" dirty="0"/>
              <a:t>)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C96C66BA-CBBC-F364-A5DC-48A4CC01C31A}"/>
              </a:ext>
            </a:extLst>
          </p:cNvPr>
          <p:cNvSpPr txBox="1"/>
          <p:nvPr/>
        </p:nvSpPr>
        <p:spPr>
          <a:xfrm>
            <a:off x="1230061" y="2970216"/>
            <a:ext cx="373211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rgbClr val="1A3DFF"/>
                </a:solidFill>
              </a:rPr>
              <a:t>1</a:t>
            </a:r>
            <a:r>
              <a:rPr lang="en-US" baseline="30000" dirty="0">
                <a:solidFill>
                  <a:srgbClr val="1A3DFF"/>
                </a:solidFill>
              </a:rPr>
              <a:t>st</a:t>
            </a:r>
            <a:r>
              <a:rPr lang="en-US" dirty="0">
                <a:solidFill>
                  <a:srgbClr val="1A3DFF"/>
                </a:solidFill>
              </a:rPr>
              <a:t> and 2</a:t>
            </a:r>
            <a:r>
              <a:rPr lang="en-US" baseline="30000" dirty="0">
                <a:solidFill>
                  <a:srgbClr val="1A3DFF"/>
                </a:solidFill>
              </a:rPr>
              <a:t>nd</a:t>
            </a:r>
            <a:r>
              <a:rPr lang="en-US" dirty="0">
                <a:solidFill>
                  <a:srgbClr val="1A3DFF"/>
                </a:solidFill>
              </a:rPr>
              <a:t> exp. of 6152-3x in iPSC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D8CD4EA0-35EB-42FE-0A39-9591C625810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24783" y="550088"/>
            <a:ext cx="2458045" cy="2458045"/>
          </a:xfrm>
          <a:prstGeom prst="rect">
            <a:avLst/>
          </a:prstGeom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499F75B8-30F2-BDA3-BD94-4591A3B46E18}"/>
              </a:ext>
            </a:extLst>
          </p:cNvPr>
          <p:cNvSpPr txBox="1"/>
          <p:nvPr/>
        </p:nvSpPr>
        <p:spPr>
          <a:xfrm>
            <a:off x="1275065" y="5777452"/>
            <a:ext cx="397576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rgbClr val="1A3DFF"/>
                </a:solidFill>
              </a:rPr>
              <a:t>1</a:t>
            </a:r>
            <a:r>
              <a:rPr lang="en-US" baseline="30000" dirty="0">
                <a:solidFill>
                  <a:srgbClr val="1A3DFF"/>
                </a:solidFill>
              </a:rPr>
              <a:t>st</a:t>
            </a:r>
            <a:r>
              <a:rPr lang="en-US" dirty="0">
                <a:solidFill>
                  <a:srgbClr val="1A3DFF"/>
                </a:solidFill>
              </a:rPr>
              <a:t> and 2</a:t>
            </a:r>
            <a:r>
              <a:rPr lang="en-US" baseline="30000" dirty="0">
                <a:solidFill>
                  <a:srgbClr val="1A3DFF"/>
                </a:solidFill>
              </a:rPr>
              <a:t>nd</a:t>
            </a:r>
            <a:r>
              <a:rPr lang="en-US" dirty="0">
                <a:solidFill>
                  <a:srgbClr val="1A3DFF"/>
                </a:solidFill>
              </a:rPr>
              <a:t> exp. of 6152-3x in NGN2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660C5F3C-A74C-C08F-AF84-4C793EDE23AF}"/>
              </a:ext>
            </a:extLst>
          </p:cNvPr>
          <p:cNvSpPr txBox="1"/>
          <p:nvPr/>
        </p:nvSpPr>
        <p:spPr>
          <a:xfrm>
            <a:off x="6828221" y="2970216"/>
            <a:ext cx="386035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rgbClr val="1A3DFF"/>
                </a:solidFill>
              </a:rPr>
              <a:t>1</a:t>
            </a:r>
            <a:r>
              <a:rPr lang="en-US" baseline="30000" dirty="0">
                <a:solidFill>
                  <a:srgbClr val="1A3DFF"/>
                </a:solidFill>
              </a:rPr>
              <a:t>st</a:t>
            </a:r>
            <a:r>
              <a:rPr lang="en-US" dirty="0">
                <a:solidFill>
                  <a:srgbClr val="1A3DFF"/>
                </a:solidFill>
              </a:rPr>
              <a:t> and 2</a:t>
            </a:r>
            <a:r>
              <a:rPr lang="en-US" baseline="30000" dirty="0">
                <a:solidFill>
                  <a:srgbClr val="1A3DFF"/>
                </a:solidFill>
              </a:rPr>
              <a:t>nd</a:t>
            </a:r>
            <a:r>
              <a:rPr lang="en-US" dirty="0">
                <a:solidFill>
                  <a:srgbClr val="1A3DFF"/>
                </a:solidFill>
              </a:rPr>
              <a:t> exp. of 6152-10x in iPSC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94BA807B-3F09-6079-2B9B-E029A959A591}"/>
              </a:ext>
            </a:extLst>
          </p:cNvPr>
          <p:cNvSpPr txBox="1"/>
          <p:nvPr/>
        </p:nvSpPr>
        <p:spPr>
          <a:xfrm>
            <a:off x="6928343" y="5894362"/>
            <a:ext cx="397576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rgbClr val="1A3DFF"/>
                </a:solidFill>
              </a:rPr>
              <a:t>1</a:t>
            </a:r>
            <a:r>
              <a:rPr lang="en-US" baseline="30000" dirty="0">
                <a:solidFill>
                  <a:srgbClr val="1A3DFF"/>
                </a:solidFill>
              </a:rPr>
              <a:t>st</a:t>
            </a:r>
            <a:r>
              <a:rPr lang="en-US" dirty="0">
                <a:solidFill>
                  <a:srgbClr val="1A3DFF"/>
                </a:solidFill>
              </a:rPr>
              <a:t> and 2</a:t>
            </a:r>
            <a:r>
              <a:rPr lang="en-US" baseline="30000" dirty="0">
                <a:solidFill>
                  <a:srgbClr val="1A3DFF"/>
                </a:solidFill>
              </a:rPr>
              <a:t>nd</a:t>
            </a:r>
            <a:r>
              <a:rPr lang="en-US" dirty="0">
                <a:solidFill>
                  <a:srgbClr val="1A3DFF"/>
                </a:solidFill>
              </a:rPr>
              <a:t> exp. of 6152-10x in NGN2</a:t>
            </a: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E2207A1D-66B2-F901-4161-D61E0769AE1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54951" y="415402"/>
            <a:ext cx="2394068" cy="2394068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E1348393-1D1B-3942-7E87-339BF76BDEE4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86444" y="3284736"/>
            <a:ext cx="2458044" cy="2458044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C38F5BFA-1AE5-506C-F4C7-98ECA4A8AC95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01629" y="3500294"/>
            <a:ext cx="2549718" cy="23934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99505228"/>
      </p:ext>
    </p:extLst>
  </p:cSld>
  <p:clrMapOvr>
    <a:masterClrMapping/>
  </p:clrMapOvr>
  <p:transition>
    <p:fade/>
  </p:transition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A69C73D-5F16-A949-B8C3-18EE7187BD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000" dirty="0"/>
              <a:t>Overlapped DSG (</a:t>
            </a:r>
            <a:r>
              <a:rPr lang="en-US" sz="2000" dirty="0">
                <a:solidFill>
                  <a:srgbClr val="0432FF"/>
                </a:solidFill>
              </a:rPr>
              <a:t>1</a:t>
            </a:r>
            <a:r>
              <a:rPr lang="en-US" sz="2000" baseline="30000" dirty="0">
                <a:solidFill>
                  <a:srgbClr val="0432FF"/>
                </a:solidFill>
              </a:rPr>
              <a:t>st</a:t>
            </a:r>
            <a:r>
              <a:rPr lang="en-US" sz="2000" dirty="0">
                <a:solidFill>
                  <a:srgbClr val="0432FF"/>
                </a:solidFill>
              </a:rPr>
              <a:t> and 2</a:t>
            </a:r>
            <a:r>
              <a:rPr lang="en-US" sz="2000" baseline="30000" dirty="0">
                <a:solidFill>
                  <a:srgbClr val="0432FF"/>
                </a:solidFill>
              </a:rPr>
              <a:t>nd</a:t>
            </a:r>
            <a:r>
              <a:rPr lang="en-US" sz="2000" dirty="0">
                <a:solidFill>
                  <a:srgbClr val="0432FF"/>
                </a:solidFill>
              </a:rPr>
              <a:t> batch mutual support</a:t>
            </a:r>
            <a:r>
              <a:rPr lang="en-US" sz="2000" dirty="0"/>
              <a:t>)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C96C66BA-CBBC-F364-A5DC-48A4CC01C31A}"/>
              </a:ext>
            </a:extLst>
          </p:cNvPr>
          <p:cNvSpPr txBox="1"/>
          <p:nvPr/>
        </p:nvSpPr>
        <p:spPr>
          <a:xfrm>
            <a:off x="7331502" y="2899096"/>
            <a:ext cx="386035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rgbClr val="1A3DFF"/>
                </a:solidFill>
              </a:rPr>
              <a:t>1</a:t>
            </a:r>
            <a:r>
              <a:rPr lang="en-US" baseline="30000" dirty="0">
                <a:solidFill>
                  <a:srgbClr val="1A3DFF"/>
                </a:solidFill>
              </a:rPr>
              <a:t>st</a:t>
            </a:r>
            <a:r>
              <a:rPr lang="en-US" dirty="0">
                <a:solidFill>
                  <a:srgbClr val="1A3DFF"/>
                </a:solidFill>
              </a:rPr>
              <a:t> and 2</a:t>
            </a:r>
            <a:r>
              <a:rPr lang="en-US" baseline="30000" dirty="0">
                <a:solidFill>
                  <a:srgbClr val="1A3DFF"/>
                </a:solidFill>
              </a:rPr>
              <a:t>nd</a:t>
            </a:r>
            <a:r>
              <a:rPr lang="en-US" dirty="0">
                <a:solidFill>
                  <a:srgbClr val="1A3DFF"/>
                </a:solidFill>
              </a:rPr>
              <a:t> batch of 6152-3x in iPSC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E7EF07C8-F75D-44D7-17C2-F94B6EDDC03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9794" y="546822"/>
            <a:ext cx="5075063" cy="55803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65629823"/>
      </p:ext>
    </p:extLst>
  </p:cSld>
  <p:clrMapOvr>
    <a:masterClrMapping/>
  </p:clrMapOvr>
  <p:transition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>
            <a:extLst>
              <a:ext uri="{FF2B5EF4-FFF2-40B4-BE49-F238E27FC236}">
                <a16:creationId xmlns:a16="http://schemas.microsoft.com/office/drawing/2014/main" id="{71843833-56D3-4FC1-AEEA-4056C71CF16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29" imgH="627" progId="TCLayout.ActiveDocument.1">
                  <p:embed/>
                </p:oleObj>
              </mc:Choice>
              <mc:Fallback>
                <p:oleObj name="think-cell Slide" r:id="rId4" imgW="629" imgH="627" progId="TCLayout.ActiveDocument.1">
                  <p:embed/>
                  <p:pic>
                    <p:nvPicPr>
                      <p:cNvPr id="21" name="Object 20" hidden="1">
                        <a:extLst>
                          <a:ext uri="{FF2B5EF4-FFF2-40B4-BE49-F238E27FC236}">
                            <a16:creationId xmlns:a16="http://schemas.microsoft.com/office/drawing/2014/main" id="{71843833-56D3-4FC1-AEEA-4056C71CF1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0" name="Title 1"/>
          <p:cNvSpPr txBox="1">
            <a:spLocks/>
          </p:cNvSpPr>
          <p:nvPr/>
        </p:nvSpPr>
        <p:spPr>
          <a:xfrm>
            <a:off x="4233" y="0"/>
            <a:ext cx="12187767" cy="783884"/>
          </a:xfrm>
          <a:prstGeom prst="rect">
            <a:avLst/>
          </a:prstGeom>
          <a:solidFill>
            <a:srgbClr val="013952">
              <a:alpha val="75000"/>
            </a:srgbClr>
          </a:solidFill>
        </p:spPr>
        <p:txBody>
          <a:bodyPr lIns="48768" anchor="ctr"/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52388" marR="0" lvl="0" indent="0" algn="ctr" defTabSz="609555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Narrow" panose="020B0606020202030204" pitchFamily="34" charset="0"/>
              <a:ea typeface="+mj-ea"/>
              <a:cs typeface="+mj-cs"/>
            </a:endParaRPr>
          </a:p>
        </p:txBody>
      </p:sp>
      <p:pic>
        <p:nvPicPr>
          <p:cNvPr id="5" name="Picture 4" descr="Graphical user interface&#10;&#10;Description automatically generated with medium confidence">
            <a:extLst>
              <a:ext uri="{FF2B5EF4-FFF2-40B4-BE49-F238E27FC236}">
                <a16:creationId xmlns:a16="http://schemas.microsoft.com/office/drawing/2014/main" id="{A915069F-53C3-4BF8-2299-5489A09953EA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130"/>
          <a:stretch/>
        </p:blipFill>
        <p:spPr>
          <a:xfrm>
            <a:off x="652049" y="1162739"/>
            <a:ext cx="4941928" cy="4532522"/>
          </a:xfrm>
          <a:prstGeom prst="rect">
            <a:avLst/>
          </a:prstGeom>
        </p:spPr>
      </p:pic>
      <p:pic>
        <p:nvPicPr>
          <p:cNvPr id="7" name="Picture 6" descr="Chart, scatter chart&#10;&#10;Description automatically generated">
            <a:extLst>
              <a:ext uri="{FF2B5EF4-FFF2-40B4-BE49-F238E27FC236}">
                <a16:creationId xmlns:a16="http://schemas.microsoft.com/office/drawing/2014/main" id="{A4456FBC-BE1E-1B7D-C401-F3F54CE1DF7D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611" r="2326" b="16250"/>
          <a:stretch/>
        </p:blipFill>
        <p:spPr>
          <a:xfrm>
            <a:off x="6306670" y="1162739"/>
            <a:ext cx="5634317" cy="4635644"/>
          </a:xfrm>
          <a:prstGeom prst="rect">
            <a:avLst/>
          </a:prstGeom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BDA6B3EA-5E54-928E-FD31-0C1186F70EA4}"/>
              </a:ext>
            </a:extLst>
          </p:cNvPr>
          <p:cNvSpPr txBox="1">
            <a:spLocks/>
          </p:cNvSpPr>
          <p:nvPr/>
        </p:nvSpPr>
        <p:spPr>
          <a:xfrm>
            <a:off x="0" y="0"/>
            <a:ext cx="12187767" cy="783884"/>
          </a:xfrm>
          <a:prstGeom prst="rect">
            <a:avLst/>
          </a:prstGeom>
          <a:solidFill>
            <a:srgbClr val="013952">
              <a:alpha val="75000"/>
            </a:srgbClr>
          </a:solidFill>
        </p:spPr>
        <p:txBody>
          <a:bodyPr lIns="48768" anchor="ctr"/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spcBef>
                <a:spcPts val="200"/>
              </a:spcBef>
            </a:pPr>
            <a:r>
              <a:rPr lang="en-US" dirty="0">
                <a:solidFill>
                  <a:schemeClr val="bg1"/>
                </a:solidFill>
                <a:latin typeface="Arial Narrow" panose="020B0604020202020204" pitchFamily="34" charset="0"/>
                <a:ea typeface="Apple Symbols" panose="02000000000000000000" pitchFamily="2" charset="-79"/>
                <a:cs typeface="Arial Narrow" panose="020B0604020202020204" pitchFamily="34" charset="0"/>
              </a:rPr>
              <a:t>PCA of iPSC samples</a:t>
            </a:r>
            <a:endParaRPr lang="en-US" sz="6000" dirty="0">
              <a:solidFill>
                <a:schemeClr val="bg1"/>
              </a:solidFill>
              <a:latin typeface="Arial Narrow" panose="020B0604020202020204" pitchFamily="34" charset="0"/>
              <a:ea typeface="Apple Symbols" panose="02000000000000000000" pitchFamily="2" charset="-79"/>
              <a:cs typeface="Arial Narrow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15809006"/>
      </p:ext>
    </p:extLst>
  </p:cSld>
  <p:clrMapOvr>
    <a:masterClrMapping/>
  </p:clrMapOvr>
  <p:transition>
    <p:fade/>
  </p:transition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A69C73D-5F16-A949-B8C3-18EE7187BD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000" dirty="0"/>
              <a:t>Overlapped DSG (</a:t>
            </a:r>
            <a:r>
              <a:rPr lang="en-US" sz="2000" dirty="0">
                <a:solidFill>
                  <a:srgbClr val="0432FF"/>
                </a:solidFill>
              </a:rPr>
              <a:t>1</a:t>
            </a:r>
            <a:r>
              <a:rPr lang="en-US" sz="2000" baseline="30000" dirty="0">
                <a:solidFill>
                  <a:srgbClr val="0432FF"/>
                </a:solidFill>
              </a:rPr>
              <a:t>st</a:t>
            </a:r>
            <a:r>
              <a:rPr lang="en-US" sz="2000" dirty="0">
                <a:solidFill>
                  <a:srgbClr val="0432FF"/>
                </a:solidFill>
              </a:rPr>
              <a:t> and 2</a:t>
            </a:r>
            <a:r>
              <a:rPr lang="en-US" sz="2000" baseline="30000" dirty="0">
                <a:solidFill>
                  <a:srgbClr val="0432FF"/>
                </a:solidFill>
              </a:rPr>
              <a:t>nd</a:t>
            </a:r>
            <a:r>
              <a:rPr lang="en-US" sz="2000" dirty="0">
                <a:solidFill>
                  <a:srgbClr val="0432FF"/>
                </a:solidFill>
              </a:rPr>
              <a:t> batch mutual support</a:t>
            </a:r>
            <a:r>
              <a:rPr lang="en-US" sz="2000" dirty="0"/>
              <a:t>)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C96C66BA-CBBC-F364-A5DC-48A4CC01C31A}"/>
              </a:ext>
            </a:extLst>
          </p:cNvPr>
          <p:cNvSpPr txBox="1"/>
          <p:nvPr/>
        </p:nvSpPr>
        <p:spPr>
          <a:xfrm>
            <a:off x="6776735" y="2986730"/>
            <a:ext cx="398859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rgbClr val="1A3DFF"/>
                </a:solidFill>
              </a:rPr>
              <a:t>1</a:t>
            </a:r>
            <a:r>
              <a:rPr lang="en-US" baseline="30000" dirty="0">
                <a:solidFill>
                  <a:srgbClr val="1A3DFF"/>
                </a:solidFill>
              </a:rPr>
              <a:t>st</a:t>
            </a:r>
            <a:r>
              <a:rPr lang="en-US" dirty="0">
                <a:solidFill>
                  <a:srgbClr val="1A3DFF"/>
                </a:solidFill>
              </a:rPr>
              <a:t> and 2</a:t>
            </a:r>
            <a:r>
              <a:rPr lang="en-US" baseline="30000" dirty="0">
                <a:solidFill>
                  <a:srgbClr val="1A3DFF"/>
                </a:solidFill>
              </a:rPr>
              <a:t>nd</a:t>
            </a:r>
            <a:r>
              <a:rPr lang="en-US" dirty="0">
                <a:solidFill>
                  <a:srgbClr val="1A3DFF"/>
                </a:solidFill>
              </a:rPr>
              <a:t> batch of 6152-10x in iPSC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605F91B5-FA23-FDDF-AE0C-CE846931C89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3014" y="546822"/>
            <a:ext cx="5134000" cy="56184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84478359"/>
      </p:ext>
    </p:extLst>
  </p:cSld>
  <p:clrMapOvr>
    <a:masterClrMapping/>
  </p:clrMapOvr>
  <p:transition>
    <p:fade/>
  </p:transition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A69C73D-5F16-A949-B8C3-18EE7187BD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000" dirty="0"/>
              <a:t>Overlapped DSG (</a:t>
            </a:r>
            <a:r>
              <a:rPr lang="en-US" sz="2000" dirty="0">
                <a:solidFill>
                  <a:srgbClr val="0432FF"/>
                </a:solidFill>
              </a:rPr>
              <a:t>1</a:t>
            </a:r>
            <a:r>
              <a:rPr lang="en-US" sz="2000" baseline="30000" dirty="0">
                <a:solidFill>
                  <a:srgbClr val="0432FF"/>
                </a:solidFill>
              </a:rPr>
              <a:t>st</a:t>
            </a:r>
            <a:r>
              <a:rPr lang="en-US" sz="2000" dirty="0">
                <a:solidFill>
                  <a:srgbClr val="0432FF"/>
                </a:solidFill>
              </a:rPr>
              <a:t> and 2</a:t>
            </a:r>
            <a:r>
              <a:rPr lang="en-US" sz="2000" baseline="30000" dirty="0">
                <a:solidFill>
                  <a:srgbClr val="0432FF"/>
                </a:solidFill>
              </a:rPr>
              <a:t>nd</a:t>
            </a:r>
            <a:r>
              <a:rPr lang="en-US" sz="2000" dirty="0">
                <a:solidFill>
                  <a:srgbClr val="0432FF"/>
                </a:solidFill>
              </a:rPr>
              <a:t> batch mutual support</a:t>
            </a:r>
            <a:r>
              <a:rPr lang="en-US" sz="2000" dirty="0"/>
              <a:t>)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C96C66BA-CBBC-F364-A5DC-48A4CC01C31A}"/>
              </a:ext>
            </a:extLst>
          </p:cNvPr>
          <p:cNvSpPr txBox="1"/>
          <p:nvPr/>
        </p:nvSpPr>
        <p:spPr>
          <a:xfrm>
            <a:off x="7478461" y="2899096"/>
            <a:ext cx="397576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rgbClr val="1A3DFF"/>
                </a:solidFill>
              </a:rPr>
              <a:t>1</a:t>
            </a:r>
            <a:r>
              <a:rPr lang="en-US" baseline="30000" dirty="0">
                <a:solidFill>
                  <a:srgbClr val="1A3DFF"/>
                </a:solidFill>
              </a:rPr>
              <a:t>st</a:t>
            </a:r>
            <a:r>
              <a:rPr lang="en-US" dirty="0">
                <a:solidFill>
                  <a:srgbClr val="1A3DFF"/>
                </a:solidFill>
              </a:rPr>
              <a:t> and 2</a:t>
            </a:r>
            <a:r>
              <a:rPr lang="en-US" baseline="30000" dirty="0">
                <a:solidFill>
                  <a:srgbClr val="1A3DFF"/>
                </a:solidFill>
              </a:rPr>
              <a:t>nd</a:t>
            </a:r>
            <a:r>
              <a:rPr lang="en-US" dirty="0">
                <a:solidFill>
                  <a:srgbClr val="1A3DFF"/>
                </a:solidFill>
              </a:rPr>
              <a:t> batch of 6152-3x in NGN2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890B4DC7-9A78-97BC-F6C7-1890FD968A0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4232" y="546822"/>
            <a:ext cx="5326695" cy="55067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35324092"/>
      </p:ext>
    </p:extLst>
  </p:cSld>
  <p:clrMapOvr>
    <a:masterClrMapping/>
  </p:clrMapOvr>
  <p:transition>
    <p:fade/>
  </p:transition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A69C73D-5F16-A949-B8C3-18EE7187BD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000" dirty="0"/>
              <a:t>Overlapped DSG (</a:t>
            </a:r>
            <a:r>
              <a:rPr lang="en-US" sz="2000" dirty="0">
                <a:solidFill>
                  <a:srgbClr val="0432FF"/>
                </a:solidFill>
              </a:rPr>
              <a:t>1</a:t>
            </a:r>
            <a:r>
              <a:rPr lang="en-US" sz="2000" baseline="30000" dirty="0">
                <a:solidFill>
                  <a:srgbClr val="0432FF"/>
                </a:solidFill>
              </a:rPr>
              <a:t>st</a:t>
            </a:r>
            <a:r>
              <a:rPr lang="en-US" sz="2000" dirty="0">
                <a:solidFill>
                  <a:srgbClr val="0432FF"/>
                </a:solidFill>
              </a:rPr>
              <a:t> and 2</a:t>
            </a:r>
            <a:r>
              <a:rPr lang="en-US" sz="2000" baseline="30000" dirty="0">
                <a:solidFill>
                  <a:srgbClr val="0432FF"/>
                </a:solidFill>
              </a:rPr>
              <a:t>nd</a:t>
            </a:r>
            <a:r>
              <a:rPr lang="en-US" sz="2000" dirty="0">
                <a:solidFill>
                  <a:srgbClr val="0432FF"/>
                </a:solidFill>
              </a:rPr>
              <a:t> batch mutual support</a:t>
            </a:r>
            <a:r>
              <a:rPr lang="en-US" sz="2000" dirty="0"/>
              <a:t>)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C96C66BA-CBBC-F364-A5DC-48A4CC01C31A}"/>
              </a:ext>
            </a:extLst>
          </p:cNvPr>
          <p:cNvSpPr txBox="1"/>
          <p:nvPr/>
        </p:nvSpPr>
        <p:spPr>
          <a:xfrm>
            <a:off x="7478461" y="2899096"/>
            <a:ext cx="410400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rgbClr val="1A3DFF"/>
                </a:solidFill>
              </a:rPr>
              <a:t>1</a:t>
            </a:r>
            <a:r>
              <a:rPr lang="en-US" baseline="30000" dirty="0">
                <a:solidFill>
                  <a:srgbClr val="1A3DFF"/>
                </a:solidFill>
              </a:rPr>
              <a:t>st</a:t>
            </a:r>
            <a:r>
              <a:rPr lang="en-US" dirty="0">
                <a:solidFill>
                  <a:srgbClr val="1A3DFF"/>
                </a:solidFill>
              </a:rPr>
              <a:t> and 2</a:t>
            </a:r>
            <a:r>
              <a:rPr lang="en-US" baseline="30000" dirty="0">
                <a:solidFill>
                  <a:srgbClr val="1A3DFF"/>
                </a:solidFill>
              </a:rPr>
              <a:t>nd</a:t>
            </a:r>
            <a:r>
              <a:rPr lang="en-US" dirty="0">
                <a:solidFill>
                  <a:srgbClr val="1A3DFF"/>
                </a:solidFill>
              </a:rPr>
              <a:t> batch of 6152-10x in NGN2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D2C2B7C1-3FCA-0071-6BDE-8E0ED40BD3A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6043" y="680720"/>
            <a:ext cx="6025243" cy="51828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86664563"/>
      </p:ext>
    </p:extLst>
  </p:cSld>
  <p:clrMapOvr>
    <a:masterClrMapping/>
  </p:clrMapOvr>
  <p:transition>
    <p:fade/>
  </p:transition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>
            <a:extLst>
              <a:ext uri="{FF2B5EF4-FFF2-40B4-BE49-F238E27FC236}">
                <a16:creationId xmlns:a16="http://schemas.microsoft.com/office/drawing/2014/main" id="{71843833-56D3-4FC1-AEEA-4056C71CF16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29" imgH="627" progId="TCLayout.ActiveDocument.1">
                  <p:embed/>
                </p:oleObj>
              </mc:Choice>
              <mc:Fallback>
                <p:oleObj name="think-cell Slide" r:id="rId4" imgW="629" imgH="627" progId="TCLayout.ActiveDocument.1">
                  <p:embed/>
                  <p:pic>
                    <p:nvPicPr>
                      <p:cNvPr id="21" name="Object 20" hidden="1">
                        <a:extLst>
                          <a:ext uri="{FF2B5EF4-FFF2-40B4-BE49-F238E27FC236}">
                            <a16:creationId xmlns:a16="http://schemas.microsoft.com/office/drawing/2014/main" id="{71843833-56D3-4FC1-AEEA-4056C71CF1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0" name="Title 1"/>
          <p:cNvSpPr txBox="1">
            <a:spLocks/>
          </p:cNvSpPr>
          <p:nvPr/>
        </p:nvSpPr>
        <p:spPr>
          <a:xfrm>
            <a:off x="4233" y="-136071"/>
            <a:ext cx="12187767" cy="783884"/>
          </a:xfrm>
          <a:prstGeom prst="rect">
            <a:avLst/>
          </a:prstGeom>
          <a:solidFill>
            <a:srgbClr val="013952">
              <a:alpha val="75000"/>
            </a:srgbClr>
          </a:solidFill>
        </p:spPr>
        <p:txBody>
          <a:bodyPr lIns="48768" anchor="ctr"/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52388" marR="0" lvl="0" indent="0" algn="ctr" defTabSz="609555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Narrow" panose="020B0606020202030204" pitchFamily="34" charset="0"/>
                <a:ea typeface="+mj-ea"/>
                <a:cs typeface="+mj-cs"/>
              </a:rPr>
              <a:t>Conclusion and Next Steps</a:t>
            </a:r>
          </a:p>
        </p:txBody>
      </p:sp>
      <p:sp>
        <p:nvSpPr>
          <p:cNvPr id="2" name="Subtitle 2">
            <a:extLst>
              <a:ext uri="{FF2B5EF4-FFF2-40B4-BE49-F238E27FC236}">
                <a16:creationId xmlns:a16="http://schemas.microsoft.com/office/drawing/2014/main" id="{D3DF5CE8-E35C-86FE-36E0-267767F55458}"/>
              </a:ext>
            </a:extLst>
          </p:cNvPr>
          <p:cNvSpPr txBox="1">
            <a:spLocks/>
          </p:cNvSpPr>
          <p:nvPr/>
        </p:nvSpPr>
        <p:spPr>
          <a:xfrm>
            <a:off x="248204" y="974521"/>
            <a:ext cx="11482951" cy="2667749"/>
          </a:xfrm>
          <a:prstGeom prst="rect">
            <a:avLst/>
          </a:prstGeom>
          <a:ln>
            <a:solidFill>
              <a:srgbClr val="C00000"/>
            </a:solidFill>
          </a:ln>
        </p:spPr>
        <p:txBody>
          <a:bodyPr vert="horz" lIns="91440" tIns="45720" rIns="91440" bIns="45720" rtlCol="0" anchor="t">
            <a:noAutofit/>
          </a:bodyPr>
          <a:lstStyle>
            <a:lvl1pPr marL="160863" indent="-160863" algn="l" defTabSz="609585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None/>
              <a:defRPr sz="2667" b="0" i="0" kern="120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160863" indent="-160863"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Char char="•"/>
              <a:tabLst/>
              <a:defRPr lang="en-US" sz="2400" b="0" i="0" kern="1200" baseline="0" dirty="0" smtClean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2pPr>
            <a:lvl3pPr marL="459306" indent="-158492"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System Font Regular"/>
              <a:buChar char="⁃"/>
              <a:tabLst/>
              <a:defRPr sz="2400" b="0" i="0" kern="120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3pPr>
            <a:lvl4pPr marL="764098" indent="-158492"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System Font Regular"/>
              <a:buChar char="◦"/>
              <a:tabLst/>
              <a:defRPr sz="2400" b="0" i="0" kern="120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4pPr>
            <a:lvl5pPr marL="1066773" indent="-148163"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System Font Regular"/>
              <a:buChar char="‣"/>
              <a:tabLst/>
              <a:defRPr sz="2400" b="0" i="0" kern="120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5pPr>
            <a:lvl6pPr marL="1950671" indent="0" algn="l" defTabSz="609585" rtl="0" eaLnBrk="1" latinLnBrk="0" hangingPunct="1">
              <a:lnSpc>
                <a:spcPct val="140000"/>
              </a:lnSpc>
              <a:spcBef>
                <a:spcPts val="32"/>
              </a:spcBef>
              <a:buFont typeface="Arial" panose="020B0604020202020204" pitchFamily="34" charset="0"/>
              <a:buNone/>
              <a:defRPr sz="3733" kern="1200">
                <a:solidFill>
                  <a:srgbClr val="7C878E"/>
                </a:solidFill>
                <a:latin typeface="+mn-lt"/>
                <a:ea typeface="+mn-ea"/>
                <a:cs typeface="+mn-cs"/>
              </a:defRPr>
            </a:lvl6pPr>
            <a:lvl7pPr marL="2316422" indent="0" algn="l" defTabSz="609585" rtl="0" eaLnBrk="1" latinLnBrk="0" hangingPunct="1">
              <a:lnSpc>
                <a:spcPct val="140000"/>
              </a:lnSpc>
              <a:spcBef>
                <a:spcPts val="32"/>
              </a:spcBef>
              <a:buFont typeface="Arial"/>
              <a:buNone/>
              <a:defRPr sz="3733" kern="1200" baseline="0">
                <a:solidFill>
                  <a:srgbClr val="7C878E"/>
                </a:solidFill>
                <a:latin typeface="+mn-lt"/>
                <a:ea typeface="+mn-ea"/>
                <a:cs typeface="+mn-cs"/>
              </a:defRPr>
            </a:lvl7pPr>
            <a:lvl8pPr marL="2682173" indent="0" algn="l" defTabSz="609585" rtl="0" eaLnBrk="1" latinLnBrk="0" hangingPunct="1">
              <a:lnSpc>
                <a:spcPct val="140000"/>
              </a:lnSpc>
              <a:spcBef>
                <a:spcPts val="32"/>
              </a:spcBef>
              <a:buFont typeface="Arial"/>
              <a:buNone/>
              <a:defRPr sz="3733" kern="1200" baseline="0">
                <a:solidFill>
                  <a:srgbClr val="7C878E"/>
                </a:solidFill>
                <a:latin typeface="+mn-lt"/>
                <a:ea typeface="+mn-ea"/>
                <a:cs typeface="+mn-cs"/>
              </a:defRPr>
            </a:lvl8pPr>
            <a:lvl9pPr marL="3047924" indent="0" algn="l" defTabSz="609585" rtl="0" eaLnBrk="1" latinLnBrk="0" hangingPunct="1">
              <a:lnSpc>
                <a:spcPct val="140000"/>
              </a:lnSpc>
              <a:spcBef>
                <a:spcPts val="32"/>
              </a:spcBef>
              <a:buFont typeface="Arial" panose="020B0604020202020204" pitchFamily="34" charset="0"/>
              <a:buNone/>
              <a:defRPr lang="en-US" sz="3733" kern="1200" baseline="0" dirty="0" smtClean="0">
                <a:solidFill>
                  <a:srgbClr val="7C878E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57200" indent="-457200">
              <a:spcBef>
                <a:spcPts val="200"/>
              </a:spcBef>
              <a:buClr>
                <a:srgbClr val="0432FF"/>
              </a:buClr>
              <a:buFont typeface="Wingdings" pitchFamily="2" charset="2"/>
              <a:buChar char="Ø"/>
            </a:pPr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Ranked the compounds have fewer off-targets</a:t>
            </a:r>
          </a:p>
          <a:p>
            <a:pPr marL="457200" indent="-457200">
              <a:spcBef>
                <a:spcPts val="200"/>
              </a:spcBef>
              <a:buClr>
                <a:srgbClr val="0432FF"/>
              </a:buClr>
              <a:buFont typeface="Wingdings" pitchFamily="2" charset="2"/>
              <a:buChar char="Ø"/>
            </a:pPr>
            <a:endParaRPr lang="en-US" sz="2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57200" indent="-457200">
              <a:spcBef>
                <a:spcPts val="200"/>
              </a:spcBef>
              <a:buClr>
                <a:srgbClr val="0432FF"/>
              </a:buClr>
              <a:buFont typeface="Wingdings" pitchFamily="2" charset="2"/>
              <a:buChar char="Ø"/>
            </a:pPr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Showed the common targets among the SM splicing enhancers</a:t>
            </a:r>
          </a:p>
          <a:p>
            <a:pPr marL="457200" indent="-457200">
              <a:spcBef>
                <a:spcPts val="200"/>
              </a:spcBef>
              <a:buClr>
                <a:srgbClr val="0432FF"/>
              </a:buClr>
              <a:buFont typeface="Wingdings" pitchFamily="2" charset="2"/>
              <a:buChar char="Ø"/>
            </a:pPr>
            <a:endParaRPr lang="en-US" sz="2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57200" indent="-457200">
              <a:spcBef>
                <a:spcPts val="200"/>
              </a:spcBef>
              <a:buClr>
                <a:srgbClr val="0432FF"/>
              </a:buClr>
              <a:buFont typeface="Wingdings" pitchFamily="2" charset="2"/>
              <a:buChar char="Ø"/>
            </a:pPr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Explore potential novel splicing targets</a:t>
            </a:r>
          </a:p>
          <a:p>
            <a:pPr marL="457200" indent="-457200">
              <a:spcBef>
                <a:spcPts val="200"/>
              </a:spcBef>
              <a:buClr>
                <a:srgbClr val="0432FF"/>
              </a:buClr>
              <a:buFont typeface="Wingdings" pitchFamily="2" charset="2"/>
              <a:buChar char="Ø"/>
            </a:pPr>
            <a:endParaRPr lang="en-US" sz="2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57200" indent="-457200">
              <a:spcBef>
                <a:spcPts val="200"/>
              </a:spcBef>
              <a:buClr>
                <a:srgbClr val="0432FF"/>
              </a:buClr>
              <a:buFont typeface="Wingdings" pitchFamily="2" charset="2"/>
              <a:buChar char="Ø"/>
            </a:pPr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Confirm the system difference between the different cell-systems (iPSC and NGN2) </a:t>
            </a:r>
            <a:endParaRPr lang="en-US" sz="2200" dirty="0">
              <a:cs typeface="Arial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D943205B-A9CB-075D-83BD-63928EF3AB15}"/>
              </a:ext>
            </a:extLst>
          </p:cNvPr>
          <p:cNvSpPr txBox="1"/>
          <p:nvPr/>
        </p:nvSpPr>
        <p:spPr>
          <a:xfrm>
            <a:off x="248204" y="4311872"/>
            <a:ext cx="6096000" cy="15799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Bef>
                <a:spcPts val="200"/>
              </a:spcBef>
              <a:buClr>
                <a:srgbClr val="0432FF"/>
              </a:buClr>
            </a:pPr>
            <a:r>
              <a:rPr lang="en-US" sz="1800" dirty="0">
                <a:latin typeface="Arial" panose="020B0604020202020204" pitchFamily="34" charset="0"/>
                <a:cs typeface="Arial" panose="020B0604020202020204" pitchFamily="34" charset="0"/>
              </a:rPr>
              <a:t>Next steps</a:t>
            </a:r>
          </a:p>
          <a:p>
            <a:pPr>
              <a:spcBef>
                <a:spcPts val="200"/>
              </a:spcBef>
              <a:buClr>
                <a:srgbClr val="0432FF"/>
              </a:buClr>
            </a:pPr>
            <a:endParaRPr lang="en-US" sz="18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57200" indent="-457200">
              <a:spcBef>
                <a:spcPts val="200"/>
              </a:spcBef>
              <a:buClr>
                <a:srgbClr val="0432FF"/>
              </a:buClr>
              <a:buFont typeface="Wingdings" pitchFamily="2" charset="2"/>
              <a:buChar char="v"/>
            </a:pPr>
            <a:r>
              <a:rPr lang="en-US" sz="1800" dirty="0">
                <a:latin typeface="Arial" panose="020B0604020202020204" pitchFamily="34" charset="0"/>
                <a:cs typeface="Arial" panose="020B0604020202020204" pitchFamily="34" charset="0"/>
              </a:rPr>
              <a:t>Preclinical Safety Assessment </a:t>
            </a:r>
          </a:p>
          <a:p>
            <a:pPr marL="457200" indent="-457200">
              <a:spcBef>
                <a:spcPts val="200"/>
              </a:spcBef>
              <a:buClr>
                <a:srgbClr val="0432FF"/>
              </a:buClr>
              <a:buFont typeface="Wingdings" pitchFamily="2" charset="2"/>
              <a:buChar char="v"/>
            </a:pPr>
            <a:endParaRPr lang="en-US" sz="18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57200" indent="-457200">
              <a:spcBef>
                <a:spcPts val="200"/>
              </a:spcBef>
              <a:buClr>
                <a:srgbClr val="0432FF"/>
              </a:buClr>
              <a:buFont typeface="Wingdings" pitchFamily="2" charset="2"/>
              <a:buChar char="v"/>
            </a:pPr>
            <a:r>
              <a:rPr lang="en-US" sz="1800" dirty="0" err="1">
                <a:latin typeface="Arial" panose="020B0604020202020204" pitchFamily="34" charset="0"/>
                <a:cs typeface="Arial" panose="020B0604020202020204" pitchFamily="34" charset="0"/>
              </a:rPr>
              <a:t>RASLseq</a:t>
            </a:r>
            <a:r>
              <a:rPr lang="en-US" sz="1800" dirty="0">
                <a:latin typeface="Arial" panose="020B0604020202020204" pitchFamily="34" charset="0"/>
                <a:cs typeface="Arial" panose="020B0604020202020204" pitchFamily="34" charset="0"/>
              </a:rPr>
              <a:t> primer design for cost-efficient screen</a:t>
            </a:r>
          </a:p>
        </p:txBody>
      </p:sp>
    </p:spTree>
    <p:extLst>
      <p:ext uri="{BB962C8B-B14F-4D97-AF65-F5344CB8AC3E}">
        <p14:creationId xmlns:p14="http://schemas.microsoft.com/office/powerpoint/2010/main" val="1048654048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</p:bld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>
            <a:extLst>
              <a:ext uri="{FF2B5EF4-FFF2-40B4-BE49-F238E27FC236}">
                <a16:creationId xmlns:a16="http://schemas.microsoft.com/office/drawing/2014/main" id="{71843833-56D3-4FC1-AEEA-4056C71CF16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29" imgH="627" progId="TCLayout.ActiveDocument.1">
                  <p:embed/>
                </p:oleObj>
              </mc:Choice>
              <mc:Fallback>
                <p:oleObj name="think-cell Slide" r:id="rId4" imgW="629" imgH="627" progId="TCLayout.ActiveDocument.1">
                  <p:embed/>
                  <p:pic>
                    <p:nvPicPr>
                      <p:cNvPr id="21" name="Object 20" hidden="1">
                        <a:extLst>
                          <a:ext uri="{FF2B5EF4-FFF2-40B4-BE49-F238E27FC236}">
                            <a16:creationId xmlns:a16="http://schemas.microsoft.com/office/drawing/2014/main" id="{71843833-56D3-4FC1-AEEA-4056C71CF1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0" name="Title 1"/>
          <p:cNvSpPr txBox="1">
            <a:spLocks/>
          </p:cNvSpPr>
          <p:nvPr/>
        </p:nvSpPr>
        <p:spPr>
          <a:xfrm>
            <a:off x="4233" y="0"/>
            <a:ext cx="12187767" cy="783884"/>
          </a:xfrm>
          <a:prstGeom prst="rect">
            <a:avLst/>
          </a:prstGeom>
          <a:solidFill>
            <a:srgbClr val="013952">
              <a:alpha val="75000"/>
            </a:srgbClr>
          </a:solidFill>
        </p:spPr>
        <p:txBody>
          <a:bodyPr lIns="48768" anchor="ctr"/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52388" marR="0" lvl="0" indent="0" algn="ctr" defTabSz="609555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Narrow" panose="020B0606020202030204" pitchFamily="34" charset="0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3601653107"/>
      </p:ext>
    </p:extLst>
  </p:cSld>
  <p:clrMapOvr>
    <a:masterClrMapping/>
  </p:clrMapOvr>
  <p:transition>
    <p:fade/>
  </p:transition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>
            <a:extLst>
              <a:ext uri="{FF2B5EF4-FFF2-40B4-BE49-F238E27FC236}">
                <a16:creationId xmlns:a16="http://schemas.microsoft.com/office/drawing/2014/main" id="{71843833-56D3-4FC1-AEEA-4056C71CF16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29" imgH="627" progId="TCLayout.ActiveDocument.1">
                  <p:embed/>
                </p:oleObj>
              </mc:Choice>
              <mc:Fallback>
                <p:oleObj name="think-cell Slide" r:id="rId4" imgW="629" imgH="627" progId="TCLayout.ActiveDocument.1">
                  <p:embed/>
                  <p:pic>
                    <p:nvPicPr>
                      <p:cNvPr id="21" name="Object 20" hidden="1">
                        <a:extLst>
                          <a:ext uri="{FF2B5EF4-FFF2-40B4-BE49-F238E27FC236}">
                            <a16:creationId xmlns:a16="http://schemas.microsoft.com/office/drawing/2014/main" id="{71843833-56D3-4FC1-AEEA-4056C71CF1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0" name="Title 1"/>
          <p:cNvSpPr txBox="1">
            <a:spLocks/>
          </p:cNvSpPr>
          <p:nvPr/>
        </p:nvSpPr>
        <p:spPr>
          <a:xfrm>
            <a:off x="4233" y="0"/>
            <a:ext cx="12187767" cy="783884"/>
          </a:xfrm>
          <a:prstGeom prst="rect">
            <a:avLst/>
          </a:prstGeom>
          <a:solidFill>
            <a:srgbClr val="013952">
              <a:alpha val="75000"/>
            </a:srgbClr>
          </a:solidFill>
        </p:spPr>
        <p:txBody>
          <a:bodyPr lIns="48768" anchor="ctr"/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52388" marR="0" lvl="0" indent="0" algn="ctr" defTabSz="609555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Narrow" panose="020B0606020202030204" pitchFamily="34" charset="0"/>
              <a:ea typeface="+mj-ea"/>
              <a:cs typeface="+mj-cs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29AF49ED-EAF7-F2EB-EB55-8B4B2761484D}"/>
              </a:ext>
            </a:extLst>
          </p:cNvPr>
          <p:cNvSpPr txBox="1"/>
          <p:nvPr/>
        </p:nvSpPr>
        <p:spPr>
          <a:xfrm>
            <a:off x="834501" y="1482435"/>
            <a:ext cx="609600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Bef>
                <a:spcPts val="200"/>
              </a:spcBef>
              <a:buClr>
                <a:srgbClr val="0432FF"/>
              </a:buClr>
            </a:pPr>
            <a:r>
              <a:rPr lang="en-US" sz="1800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ank you everyone!</a:t>
            </a:r>
          </a:p>
        </p:txBody>
      </p:sp>
    </p:spTree>
    <p:extLst>
      <p:ext uri="{BB962C8B-B14F-4D97-AF65-F5344CB8AC3E}">
        <p14:creationId xmlns:p14="http://schemas.microsoft.com/office/powerpoint/2010/main" val="2888273451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>
            <a:extLst>
              <a:ext uri="{FF2B5EF4-FFF2-40B4-BE49-F238E27FC236}">
                <a16:creationId xmlns:a16="http://schemas.microsoft.com/office/drawing/2014/main" id="{71843833-56D3-4FC1-AEEA-4056C71CF16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29" imgH="627" progId="TCLayout.ActiveDocument.1">
                  <p:embed/>
                </p:oleObj>
              </mc:Choice>
              <mc:Fallback>
                <p:oleObj name="think-cell Slide" r:id="rId4" imgW="629" imgH="627" progId="TCLayout.ActiveDocument.1">
                  <p:embed/>
                  <p:pic>
                    <p:nvPicPr>
                      <p:cNvPr id="21" name="Object 20" hidden="1">
                        <a:extLst>
                          <a:ext uri="{FF2B5EF4-FFF2-40B4-BE49-F238E27FC236}">
                            <a16:creationId xmlns:a16="http://schemas.microsoft.com/office/drawing/2014/main" id="{71843833-56D3-4FC1-AEEA-4056C71CF1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0" name="Title 1"/>
          <p:cNvSpPr txBox="1">
            <a:spLocks/>
          </p:cNvSpPr>
          <p:nvPr/>
        </p:nvSpPr>
        <p:spPr>
          <a:xfrm>
            <a:off x="4233" y="0"/>
            <a:ext cx="12187767" cy="783884"/>
          </a:xfrm>
          <a:prstGeom prst="rect">
            <a:avLst/>
          </a:prstGeom>
          <a:solidFill>
            <a:srgbClr val="013952">
              <a:alpha val="75000"/>
            </a:srgbClr>
          </a:solidFill>
        </p:spPr>
        <p:txBody>
          <a:bodyPr lIns="48768" anchor="ctr"/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52388" marR="0" lvl="0" indent="0" algn="ctr" defTabSz="609555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Narrow" panose="020B0606020202030204" pitchFamily="34" charset="0"/>
              <a:ea typeface="+mj-ea"/>
              <a:cs typeface="+mj-cs"/>
            </a:endParaRP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E872B76D-48FF-D4B8-9080-58E1A231166D}"/>
              </a:ext>
            </a:extLst>
          </p:cNvPr>
          <p:cNvSpPr txBox="1">
            <a:spLocks/>
          </p:cNvSpPr>
          <p:nvPr/>
        </p:nvSpPr>
        <p:spPr>
          <a:xfrm>
            <a:off x="0" y="0"/>
            <a:ext cx="12187767" cy="783884"/>
          </a:xfrm>
          <a:prstGeom prst="rect">
            <a:avLst/>
          </a:prstGeom>
          <a:solidFill>
            <a:srgbClr val="013952">
              <a:alpha val="75000"/>
            </a:srgbClr>
          </a:solidFill>
        </p:spPr>
        <p:txBody>
          <a:bodyPr lIns="48768" anchor="ctr"/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spcBef>
                <a:spcPts val="200"/>
              </a:spcBef>
            </a:pPr>
            <a:r>
              <a:rPr lang="en-US" dirty="0">
                <a:solidFill>
                  <a:schemeClr val="bg1"/>
                </a:solidFill>
                <a:latin typeface="Arial Narrow" panose="020B0604020202020204" pitchFamily="34" charset="0"/>
                <a:ea typeface="Apple Symbols" panose="02000000000000000000" pitchFamily="2" charset="-79"/>
                <a:cs typeface="Arial Narrow" panose="020B0604020202020204" pitchFamily="34" charset="0"/>
              </a:rPr>
              <a:t>PCA of NGN2 samples</a:t>
            </a:r>
            <a:endParaRPr lang="en-US" sz="6000" dirty="0">
              <a:solidFill>
                <a:schemeClr val="bg1"/>
              </a:solidFill>
              <a:latin typeface="Arial Narrow" panose="020B0604020202020204" pitchFamily="34" charset="0"/>
              <a:ea typeface="Apple Symbols" panose="02000000000000000000" pitchFamily="2" charset="-79"/>
              <a:cs typeface="Arial Narrow" panose="020B0604020202020204" pitchFamily="34" charset="0"/>
            </a:endParaRPr>
          </a:p>
        </p:txBody>
      </p:sp>
      <p:pic>
        <p:nvPicPr>
          <p:cNvPr id="10" name="Picture 9" descr="Chart, scatter chart&#10;&#10;Description automatically generated">
            <a:extLst>
              <a:ext uri="{FF2B5EF4-FFF2-40B4-BE49-F238E27FC236}">
                <a16:creationId xmlns:a16="http://schemas.microsoft.com/office/drawing/2014/main" id="{DF9B9CC8-AE96-EF5D-43AD-F43B7B9F1E23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605748"/>
            <a:ext cx="6037730" cy="3456214"/>
          </a:xfrm>
          <a:prstGeom prst="rect">
            <a:avLst/>
          </a:prstGeom>
        </p:spPr>
      </p:pic>
      <p:pic>
        <p:nvPicPr>
          <p:cNvPr id="16" name="Picture 15" descr="A screenshot of a computer&#10;&#10;Description automatically generated with medium confidence">
            <a:extLst>
              <a:ext uri="{FF2B5EF4-FFF2-40B4-BE49-F238E27FC236}">
                <a16:creationId xmlns:a16="http://schemas.microsoft.com/office/drawing/2014/main" id="{E120176A-3A1B-50C7-31A2-9C4941475267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54270" y="1605747"/>
            <a:ext cx="6037730" cy="46605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15585400"/>
      </p:ext>
    </p:extLst>
  </p:cSld>
  <p:clrMapOvr>
    <a:masterClrMapping/>
  </p:clrMapOvr>
  <p:transition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>
            <a:extLst>
              <a:ext uri="{FF2B5EF4-FFF2-40B4-BE49-F238E27FC236}">
                <a16:creationId xmlns:a16="http://schemas.microsoft.com/office/drawing/2014/main" id="{71843833-56D3-4FC1-AEEA-4056C71CF16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29" imgH="627" progId="TCLayout.ActiveDocument.1">
                  <p:embed/>
                </p:oleObj>
              </mc:Choice>
              <mc:Fallback>
                <p:oleObj name="think-cell Slide" r:id="rId4" imgW="629" imgH="627" progId="TCLayout.ActiveDocument.1">
                  <p:embed/>
                  <p:pic>
                    <p:nvPicPr>
                      <p:cNvPr id="21" name="Object 20" hidden="1">
                        <a:extLst>
                          <a:ext uri="{FF2B5EF4-FFF2-40B4-BE49-F238E27FC236}">
                            <a16:creationId xmlns:a16="http://schemas.microsoft.com/office/drawing/2014/main" id="{71843833-56D3-4FC1-AEEA-4056C71CF1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0" name="Title 1"/>
          <p:cNvSpPr txBox="1">
            <a:spLocks/>
          </p:cNvSpPr>
          <p:nvPr/>
        </p:nvSpPr>
        <p:spPr>
          <a:xfrm>
            <a:off x="4233" y="0"/>
            <a:ext cx="12187767" cy="783884"/>
          </a:xfrm>
          <a:prstGeom prst="rect">
            <a:avLst/>
          </a:prstGeom>
          <a:solidFill>
            <a:srgbClr val="013952">
              <a:alpha val="75000"/>
            </a:srgbClr>
          </a:solidFill>
        </p:spPr>
        <p:txBody>
          <a:bodyPr lIns="48768" anchor="ctr"/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52388" marR="0" lvl="0" indent="0" algn="ctr" defTabSz="609555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Narrow" panose="020B0606020202030204" pitchFamily="34" charset="0"/>
              <a:ea typeface="+mj-ea"/>
              <a:cs typeface="+mj-cs"/>
            </a:endParaRPr>
          </a:p>
        </p:txBody>
      </p:sp>
      <p:pic>
        <p:nvPicPr>
          <p:cNvPr id="3" name="Picture 2" descr="A screenshot of a computer&#10;&#10;Description automatically generated with medium confidence">
            <a:extLst>
              <a:ext uri="{FF2B5EF4-FFF2-40B4-BE49-F238E27FC236}">
                <a16:creationId xmlns:a16="http://schemas.microsoft.com/office/drawing/2014/main" id="{E8586E67-544B-D162-8388-83761169F084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9495" y="1089213"/>
            <a:ext cx="10094421" cy="4733364"/>
          </a:xfrm>
          <a:prstGeom prst="rect">
            <a:avLst/>
          </a:prstGeom>
        </p:spPr>
      </p:pic>
      <p:sp>
        <p:nvSpPr>
          <p:cNvPr id="5" name="Title 1">
            <a:extLst>
              <a:ext uri="{FF2B5EF4-FFF2-40B4-BE49-F238E27FC236}">
                <a16:creationId xmlns:a16="http://schemas.microsoft.com/office/drawing/2014/main" id="{48C4687E-9253-A31D-0FA8-9C58CE3890B6}"/>
              </a:ext>
            </a:extLst>
          </p:cNvPr>
          <p:cNvSpPr txBox="1">
            <a:spLocks/>
          </p:cNvSpPr>
          <p:nvPr/>
        </p:nvSpPr>
        <p:spPr>
          <a:xfrm>
            <a:off x="0" y="0"/>
            <a:ext cx="12187767" cy="783884"/>
          </a:xfrm>
          <a:prstGeom prst="rect">
            <a:avLst/>
          </a:prstGeom>
          <a:solidFill>
            <a:srgbClr val="013952">
              <a:alpha val="75000"/>
            </a:srgbClr>
          </a:solidFill>
        </p:spPr>
        <p:txBody>
          <a:bodyPr lIns="48768" anchor="ctr"/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spcBef>
                <a:spcPts val="200"/>
              </a:spcBef>
            </a:pPr>
            <a:r>
              <a:rPr lang="en-US" dirty="0">
                <a:solidFill>
                  <a:schemeClr val="bg1"/>
                </a:solidFill>
                <a:latin typeface="Arial Narrow" panose="020B0604020202020204" pitchFamily="34" charset="0"/>
                <a:ea typeface="Apple Symbols" panose="02000000000000000000" pitchFamily="2" charset="-79"/>
                <a:cs typeface="Arial Narrow" panose="020B0604020202020204" pitchFamily="34" charset="0"/>
              </a:rPr>
              <a:t>PCA of Sy5Y samples</a:t>
            </a:r>
            <a:endParaRPr lang="en-US" sz="6000" dirty="0">
              <a:solidFill>
                <a:schemeClr val="bg1"/>
              </a:solidFill>
              <a:latin typeface="Arial Narrow" panose="020B0604020202020204" pitchFamily="34" charset="0"/>
              <a:ea typeface="Apple Symbols" panose="02000000000000000000" pitchFamily="2" charset="-79"/>
              <a:cs typeface="Arial Narrow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80108566"/>
      </p:ext>
    </p:extLst>
  </p:cSld>
  <p:clrMapOvr>
    <a:masterClrMapping/>
  </p:clrMapOvr>
  <p:transition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>
            <a:extLst>
              <a:ext uri="{FF2B5EF4-FFF2-40B4-BE49-F238E27FC236}">
                <a16:creationId xmlns:a16="http://schemas.microsoft.com/office/drawing/2014/main" id="{71843833-56D3-4FC1-AEEA-4056C71CF16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29" imgH="627" progId="TCLayout.ActiveDocument.1">
                  <p:embed/>
                </p:oleObj>
              </mc:Choice>
              <mc:Fallback>
                <p:oleObj name="think-cell Slide" r:id="rId4" imgW="629" imgH="627" progId="TCLayout.ActiveDocument.1">
                  <p:embed/>
                  <p:pic>
                    <p:nvPicPr>
                      <p:cNvPr id="21" name="Object 20" hidden="1">
                        <a:extLst>
                          <a:ext uri="{FF2B5EF4-FFF2-40B4-BE49-F238E27FC236}">
                            <a16:creationId xmlns:a16="http://schemas.microsoft.com/office/drawing/2014/main" id="{71843833-56D3-4FC1-AEEA-4056C71CF1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0" name="Title 1"/>
          <p:cNvSpPr txBox="1">
            <a:spLocks/>
          </p:cNvSpPr>
          <p:nvPr/>
        </p:nvSpPr>
        <p:spPr>
          <a:xfrm>
            <a:off x="4233" y="0"/>
            <a:ext cx="12187767" cy="783884"/>
          </a:xfrm>
          <a:prstGeom prst="rect">
            <a:avLst/>
          </a:prstGeom>
          <a:solidFill>
            <a:srgbClr val="013952">
              <a:alpha val="75000"/>
            </a:srgbClr>
          </a:solidFill>
        </p:spPr>
        <p:txBody>
          <a:bodyPr lIns="48768" anchor="ctr"/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52388" marR="0" lvl="0" indent="0" algn="ctr" defTabSz="609555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Narrow" panose="020B0606020202030204" pitchFamily="34" charset="0"/>
              <a:ea typeface="+mj-ea"/>
              <a:cs typeface="+mj-cs"/>
            </a:endParaRPr>
          </a:p>
        </p:txBody>
      </p:sp>
      <p:pic>
        <p:nvPicPr>
          <p:cNvPr id="3" name="Picture 2" descr="A picture containing chart&#10;&#10;Description automatically generated">
            <a:extLst>
              <a:ext uri="{FF2B5EF4-FFF2-40B4-BE49-F238E27FC236}">
                <a16:creationId xmlns:a16="http://schemas.microsoft.com/office/drawing/2014/main" id="{CE3A13C3-D526-8FCD-8ABF-DB42A8D560A4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18012" y="783884"/>
            <a:ext cx="5957047" cy="6093198"/>
          </a:xfrm>
          <a:prstGeom prst="rect">
            <a:avLst/>
          </a:prstGeom>
        </p:spPr>
      </p:pic>
      <p:sp>
        <p:nvSpPr>
          <p:cNvPr id="5" name="Title 1">
            <a:extLst>
              <a:ext uri="{FF2B5EF4-FFF2-40B4-BE49-F238E27FC236}">
                <a16:creationId xmlns:a16="http://schemas.microsoft.com/office/drawing/2014/main" id="{157E2E21-B133-25D9-7D45-0AAFF7792290}"/>
              </a:ext>
            </a:extLst>
          </p:cNvPr>
          <p:cNvSpPr txBox="1">
            <a:spLocks/>
          </p:cNvSpPr>
          <p:nvPr/>
        </p:nvSpPr>
        <p:spPr>
          <a:xfrm>
            <a:off x="4233" y="0"/>
            <a:ext cx="12187767" cy="783884"/>
          </a:xfrm>
          <a:prstGeom prst="rect">
            <a:avLst/>
          </a:prstGeom>
          <a:solidFill>
            <a:srgbClr val="013952">
              <a:alpha val="75000"/>
            </a:srgbClr>
          </a:solidFill>
        </p:spPr>
        <p:txBody>
          <a:bodyPr lIns="48768" anchor="ctr"/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52388" marR="0" lvl="0" indent="0" algn="ctr" defTabSz="609555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>
                <a:solidFill>
                  <a:schemeClr val="bg1"/>
                </a:solidFill>
              </a:rPr>
              <a:t>The numbers of DSG induced by compounds</a:t>
            </a:r>
            <a:endParaRPr kumimoji="0" lang="en-US" sz="360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 Narrow" panose="020B0606020202030204" pitchFamily="34" charset="0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2260519135"/>
      </p:ext>
    </p:extLst>
  </p:cSld>
  <p:clrMapOvr>
    <a:masterClrMapping/>
  </p:clrMapOvr>
  <p:transition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>
            <a:extLst>
              <a:ext uri="{FF2B5EF4-FFF2-40B4-BE49-F238E27FC236}">
                <a16:creationId xmlns:a16="http://schemas.microsoft.com/office/drawing/2014/main" id="{71843833-56D3-4FC1-AEEA-4056C71CF16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29" imgH="627" progId="TCLayout.ActiveDocument.1">
                  <p:embed/>
                </p:oleObj>
              </mc:Choice>
              <mc:Fallback>
                <p:oleObj name="think-cell Slide" r:id="rId4" imgW="629" imgH="627" progId="TCLayout.ActiveDocument.1">
                  <p:embed/>
                  <p:pic>
                    <p:nvPicPr>
                      <p:cNvPr id="21" name="Object 20" hidden="1">
                        <a:extLst>
                          <a:ext uri="{FF2B5EF4-FFF2-40B4-BE49-F238E27FC236}">
                            <a16:creationId xmlns:a16="http://schemas.microsoft.com/office/drawing/2014/main" id="{71843833-56D3-4FC1-AEEA-4056C71CF1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0" name="Title 1"/>
          <p:cNvSpPr txBox="1">
            <a:spLocks/>
          </p:cNvSpPr>
          <p:nvPr/>
        </p:nvSpPr>
        <p:spPr>
          <a:xfrm>
            <a:off x="4233" y="0"/>
            <a:ext cx="12187767" cy="783884"/>
          </a:xfrm>
          <a:prstGeom prst="rect">
            <a:avLst/>
          </a:prstGeom>
          <a:solidFill>
            <a:srgbClr val="013952">
              <a:alpha val="75000"/>
            </a:srgbClr>
          </a:solidFill>
        </p:spPr>
        <p:txBody>
          <a:bodyPr lIns="48768" anchor="ctr"/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52388" marR="0" lvl="0" indent="0" algn="ctr" defTabSz="609555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Narrow" panose="020B0606020202030204" pitchFamily="34" charset="0"/>
              <a:ea typeface="+mj-ea"/>
              <a:cs typeface="+mj-cs"/>
            </a:endParaRPr>
          </a:p>
        </p:txBody>
      </p:sp>
      <p:pic>
        <p:nvPicPr>
          <p:cNvPr id="3" name="Picture 2" descr="A picture containing chart&#10;&#10;Description automatically generated">
            <a:extLst>
              <a:ext uri="{FF2B5EF4-FFF2-40B4-BE49-F238E27FC236}">
                <a16:creationId xmlns:a16="http://schemas.microsoft.com/office/drawing/2014/main" id="{CE3A13C3-D526-8FCD-8ABF-DB42A8D560A4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26517" y="684732"/>
            <a:ext cx="5957047" cy="6093198"/>
          </a:xfrm>
          <a:prstGeom prst="rect">
            <a:avLst/>
          </a:prstGeom>
        </p:spPr>
      </p:pic>
      <p:sp>
        <p:nvSpPr>
          <p:cNvPr id="5" name="Title 1">
            <a:extLst>
              <a:ext uri="{FF2B5EF4-FFF2-40B4-BE49-F238E27FC236}">
                <a16:creationId xmlns:a16="http://schemas.microsoft.com/office/drawing/2014/main" id="{157E2E21-B133-25D9-7D45-0AAFF7792290}"/>
              </a:ext>
            </a:extLst>
          </p:cNvPr>
          <p:cNvSpPr txBox="1">
            <a:spLocks/>
          </p:cNvSpPr>
          <p:nvPr/>
        </p:nvSpPr>
        <p:spPr>
          <a:xfrm>
            <a:off x="4233" y="0"/>
            <a:ext cx="12187767" cy="783884"/>
          </a:xfrm>
          <a:prstGeom prst="rect">
            <a:avLst/>
          </a:prstGeom>
          <a:solidFill>
            <a:srgbClr val="013952">
              <a:alpha val="75000"/>
            </a:srgbClr>
          </a:solidFill>
        </p:spPr>
        <p:txBody>
          <a:bodyPr lIns="48768" anchor="ctr"/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52388" marR="0" lvl="0" indent="0" algn="ctr" defTabSz="609555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>
                <a:solidFill>
                  <a:schemeClr val="bg1"/>
                </a:solidFill>
              </a:rPr>
              <a:t>The numbers of DSG induced by compounds</a:t>
            </a:r>
            <a:endParaRPr kumimoji="0" lang="en-US" sz="360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 Narrow" panose="020B0606020202030204" pitchFamily="34" charset="0"/>
              <a:ea typeface="+mj-ea"/>
              <a:cs typeface="+mj-cs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E201A04E-DB45-5AB7-8A2C-D9991D5CA786}"/>
              </a:ext>
            </a:extLst>
          </p:cNvPr>
          <p:cNvSpPr/>
          <p:nvPr/>
        </p:nvSpPr>
        <p:spPr>
          <a:xfrm>
            <a:off x="1729648" y="936434"/>
            <a:ext cx="8505022" cy="1795749"/>
          </a:xfrm>
          <a:prstGeom prst="rect">
            <a:avLst/>
          </a:prstGeom>
          <a:noFill/>
          <a:ln>
            <a:solidFill>
              <a:srgbClr val="FF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6F94B10F-603D-441C-997C-B6CB969EA32B}"/>
              </a:ext>
            </a:extLst>
          </p:cNvPr>
          <p:cNvSpPr/>
          <p:nvPr/>
        </p:nvSpPr>
        <p:spPr>
          <a:xfrm>
            <a:off x="1729647" y="4125819"/>
            <a:ext cx="8505021" cy="1795748"/>
          </a:xfrm>
          <a:prstGeom prst="rect">
            <a:avLst/>
          </a:prstGeom>
          <a:noFill/>
          <a:ln>
            <a:solidFill>
              <a:srgbClr val="FF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90FFEAAE-795F-32C8-0450-E7D0230F4D65}"/>
              </a:ext>
            </a:extLst>
          </p:cNvPr>
          <p:cNvSpPr/>
          <p:nvPr/>
        </p:nvSpPr>
        <p:spPr>
          <a:xfrm>
            <a:off x="1729647" y="2732184"/>
            <a:ext cx="8505020" cy="1393634"/>
          </a:xfrm>
          <a:prstGeom prst="rect">
            <a:avLst/>
          </a:prstGeom>
          <a:noFill/>
          <a:ln>
            <a:solidFill>
              <a:srgbClr val="FF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40827993"/>
      </p:ext>
    </p:extLst>
  </p:cSld>
  <p:clrMapOvr>
    <a:masterClrMapping/>
  </p:clrMapOvr>
  <p:transition>
    <p:fad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>
            <a:extLst>
              <a:ext uri="{FF2B5EF4-FFF2-40B4-BE49-F238E27FC236}">
                <a16:creationId xmlns:a16="http://schemas.microsoft.com/office/drawing/2014/main" id="{71843833-56D3-4FC1-AEEA-4056C71CF16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29" imgH="627" progId="TCLayout.ActiveDocument.1">
                  <p:embed/>
                </p:oleObj>
              </mc:Choice>
              <mc:Fallback>
                <p:oleObj name="think-cell Slide" r:id="rId4" imgW="629" imgH="627" progId="TCLayout.ActiveDocument.1">
                  <p:embed/>
                  <p:pic>
                    <p:nvPicPr>
                      <p:cNvPr id="21" name="Object 20" hidden="1">
                        <a:extLst>
                          <a:ext uri="{FF2B5EF4-FFF2-40B4-BE49-F238E27FC236}">
                            <a16:creationId xmlns:a16="http://schemas.microsoft.com/office/drawing/2014/main" id="{71843833-56D3-4FC1-AEEA-4056C71CF1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0" name="Title 1"/>
          <p:cNvSpPr txBox="1">
            <a:spLocks/>
          </p:cNvSpPr>
          <p:nvPr/>
        </p:nvSpPr>
        <p:spPr>
          <a:xfrm>
            <a:off x="4233" y="0"/>
            <a:ext cx="12187767" cy="783884"/>
          </a:xfrm>
          <a:prstGeom prst="rect">
            <a:avLst/>
          </a:prstGeom>
          <a:solidFill>
            <a:srgbClr val="013952">
              <a:alpha val="75000"/>
            </a:srgbClr>
          </a:solidFill>
        </p:spPr>
        <p:txBody>
          <a:bodyPr lIns="48768" anchor="ctr"/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52388" marR="0" lvl="0" indent="0" algn="ctr" defTabSz="609555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Narrow" panose="020B0606020202030204" pitchFamily="34" charset="0"/>
              <a:ea typeface="+mj-ea"/>
              <a:cs typeface="+mj-cs"/>
            </a:endParaRPr>
          </a:p>
        </p:txBody>
      </p:sp>
      <p:pic>
        <p:nvPicPr>
          <p:cNvPr id="3" name="Picture 2" descr="A picture containing chart&#10;&#10;Description automatically generated">
            <a:extLst>
              <a:ext uri="{FF2B5EF4-FFF2-40B4-BE49-F238E27FC236}">
                <a16:creationId xmlns:a16="http://schemas.microsoft.com/office/drawing/2014/main" id="{CE3A13C3-D526-8FCD-8ABF-DB42A8D560A4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5150" y="764802"/>
            <a:ext cx="4826270" cy="4936577"/>
          </a:xfrm>
          <a:prstGeom prst="rect">
            <a:avLst/>
          </a:prstGeom>
        </p:spPr>
      </p:pic>
      <p:sp>
        <p:nvSpPr>
          <p:cNvPr id="5" name="Title 1">
            <a:extLst>
              <a:ext uri="{FF2B5EF4-FFF2-40B4-BE49-F238E27FC236}">
                <a16:creationId xmlns:a16="http://schemas.microsoft.com/office/drawing/2014/main" id="{157E2E21-B133-25D9-7D45-0AAFF7792290}"/>
              </a:ext>
            </a:extLst>
          </p:cNvPr>
          <p:cNvSpPr txBox="1">
            <a:spLocks/>
          </p:cNvSpPr>
          <p:nvPr/>
        </p:nvSpPr>
        <p:spPr>
          <a:xfrm>
            <a:off x="4233" y="0"/>
            <a:ext cx="12187767" cy="783884"/>
          </a:xfrm>
          <a:prstGeom prst="rect">
            <a:avLst/>
          </a:prstGeom>
          <a:solidFill>
            <a:srgbClr val="013952">
              <a:alpha val="75000"/>
            </a:srgbClr>
          </a:solidFill>
        </p:spPr>
        <p:txBody>
          <a:bodyPr lIns="48768" anchor="ctr"/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52388" marR="0" lvl="0" indent="0" algn="ctr" defTabSz="609555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>
                <a:solidFill>
                  <a:schemeClr val="bg1"/>
                </a:solidFill>
              </a:rPr>
              <a:t>The numbers of DSG induced by compounds</a:t>
            </a:r>
            <a:endParaRPr kumimoji="0" lang="en-US" sz="360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 Narrow" panose="020B0606020202030204" pitchFamily="34" charset="0"/>
              <a:ea typeface="+mj-ea"/>
              <a:cs typeface="+mj-cs"/>
            </a:endParaRPr>
          </a:p>
        </p:txBody>
      </p:sp>
      <p:pic>
        <p:nvPicPr>
          <p:cNvPr id="4" name="Picture 3" descr="Chart&#10;&#10;Description automatically generated with medium confidence">
            <a:extLst>
              <a:ext uri="{FF2B5EF4-FFF2-40B4-BE49-F238E27FC236}">
                <a16:creationId xmlns:a16="http://schemas.microsoft.com/office/drawing/2014/main" id="{77CF4E9B-6419-BDF9-7CAC-6EB8C6BF4937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96038" y="783884"/>
            <a:ext cx="4456496" cy="5064493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665D2D91-0D87-59CF-56CD-C3E86C938A34}"/>
              </a:ext>
            </a:extLst>
          </p:cNvPr>
          <p:cNvSpPr txBox="1"/>
          <p:nvPr/>
        </p:nvSpPr>
        <p:spPr>
          <a:xfrm>
            <a:off x="1564155" y="5663711"/>
            <a:ext cx="416287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3 Treatment vs 3 Control Samples 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B666930F-7270-8965-113F-BE125D306C80}"/>
              </a:ext>
            </a:extLst>
          </p:cNvPr>
          <p:cNvSpPr txBox="1"/>
          <p:nvPr/>
        </p:nvSpPr>
        <p:spPr>
          <a:xfrm>
            <a:off x="7020075" y="5663711"/>
            <a:ext cx="525213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All </a:t>
            </a:r>
            <a:r>
              <a:rPr lang="en-US" dirty="0" err="1"/>
              <a:t>avalaible</a:t>
            </a:r>
            <a:r>
              <a:rPr lang="en-US" dirty="0"/>
              <a:t> Treatment vs 4 Control Samples </a:t>
            </a:r>
          </a:p>
        </p:txBody>
      </p:sp>
    </p:spTree>
    <p:extLst>
      <p:ext uri="{BB962C8B-B14F-4D97-AF65-F5344CB8AC3E}">
        <p14:creationId xmlns:p14="http://schemas.microsoft.com/office/powerpoint/2010/main" val="3751094285"/>
      </p:ext>
    </p:extLst>
  </p:cSld>
  <p:clrMapOvr>
    <a:masterClrMapping/>
  </p:clrMapOvr>
  <p:transition>
    <p:fad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>
            <a:extLst>
              <a:ext uri="{FF2B5EF4-FFF2-40B4-BE49-F238E27FC236}">
                <a16:creationId xmlns:a16="http://schemas.microsoft.com/office/drawing/2014/main" id="{71843833-56D3-4FC1-AEEA-4056C71CF16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29" imgH="627" progId="TCLayout.ActiveDocument.1">
                  <p:embed/>
                </p:oleObj>
              </mc:Choice>
              <mc:Fallback>
                <p:oleObj name="think-cell Slide" r:id="rId4" imgW="629" imgH="627" progId="TCLayout.ActiveDocument.1">
                  <p:embed/>
                  <p:pic>
                    <p:nvPicPr>
                      <p:cNvPr id="21" name="Object 20" hidden="1">
                        <a:extLst>
                          <a:ext uri="{FF2B5EF4-FFF2-40B4-BE49-F238E27FC236}">
                            <a16:creationId xmlns:a16="http://schemas.microsoft.com/office/drawing/2014/main" id="{71843833-56D3-4FC1-AEEA-4056C71CF1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0" name="Title 1"/>
          <p:cNvSpPr txBox="1">
            <a:spLocks/>
          </p:cNvSpPr>
          <p:nvPr/>
        </p:nvSpPr>
        <p:spPr>
          <a:xfrm>
            <a:off x="4233" y="0"/>
            <a:ext cx="12187767" cy="783884"/>
          </a:xfrm>
          <a:prstGeom prst="rect">
            <a:avLst/>
          </a:prstGeom>
          <a:solidFill>
            <a:srgbClr val="013952">
              <a:alpha val="75000"/>
            </a:srgbClr>
          </a:solidFill>
        </p:spPr>
        <p:txBody>
          <a:bodyPr lIns="48768" anchor="ctr"/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52388" marR="0" lvl="0" indent="0" algn="ctr" defTabSz="609555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Narrow" panose="020B0606020202030204" pitchFamily="34" charset="0"/>
              <a:ea typeface="+mj-ea"/>
              <a:cs typeface="+mj-cs"/>
            </a:endParaRPr>
          </a:p>
        </p:txBody>
      </p:sp>
      <p:pic>
        <p:nvPicPr>
          <p:cNvPr id="3" name="Picture 2" descr="Chart, scatter chart&#10;&#10;Description automatically generated">
            <a:extLst>
              <a:ext uri="{FF2B5EF4-FFF2-40B4-BE49-F238E27FC236}">
                <a16:creationId xmlns:a16="http://schemas.microsoft.com/office/drawing/2014/main" id="{478A4858-C293-1DCB-A5E0-3B63DBA78C3A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48718" y="1118338"/>
            <a:ext cx="5378824" cy="41260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25198210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fYoo3JWFNOgPMWDCrswd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New Biogen">
  <a:themeElements>
    <a:clrScheme name="Biogen - NEW ">
      <a:dk1>
        <a:srgbClr val="363838"/>
      </a:dk1>
      <a:lt1>
        <a:srgbClr val="FFFFFF"/>
      </a:lt1>
      <a:dk2>
        <a:srgbClr val="005B82"/>
      </a:dk2>
      <a:lt2>
        <a:srgbClr val="578196"/>
      </a:lt2>
      <a:accent1>
        <a:srgbClr val="2473BA"/>
      </a:accent1>
      <a:accent2>
        <a:srgbClr val="6DAD46"/>
      </a:accent2>
      <a:accent3>
        <a:srgbClr val="510556"/>
      </a:accent3>
      <a:accent4>
        <a:srgbClr val="8A104C"/>
      </a:accent4>
      <a:accent5>
        <a:srgbClr val="C8411D"/>
      </a:accent5>
      <a:accent6>
        <a:srgbClr val="FF9900"/>
      </a:accent6>
      <a:hlink>
        <a:srgbClr val="7BC3E1"/>
      </a:hlink>
      <a:folHlink>
        <a:srgbClr val="7BC3E1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2573BA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5875">
          <a:solidFill>
            <a:schemeClr val="bg1">
              <a:lumMod val="50000"/>
            </a:schemeClr>
          </a:solidFill>
          <a:prstDash val="sysDot"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New Biogen" id="{C56E6A37-F4D4-4064-88AD-6B864C2976FD}" vid="{D5F3D680-2624-4A2E-8627-C43B948B5BB7}"/>
    </a:ext>
  </a:extLst>
</a:theme>
</file>

<file path=ppt/theme/theme2.xml><?xml version="1.0" encoding="utf-8"?>
<a:theme xmlns:a="http://schemas.openxmlformats.org/drawingml/2006/main" name="2_Biogen_White">
  <a:themeElements>
    <a:clrScheme name="Biogen - NEW ">
      <a:dk1>
        <a:srgbClr val="363838"/>
      </a:dk1>
      <a:lt1>
        <a:srgbClr val="FFFFFF"/>
      </a:lt1>
      <a:dk2>
        <a:srgbClr val="005B82"/>
      </a:dk2>
      <a:lt2>
        <a:srgbClr val="578196"/>
      </a:lt2>
      <a:accent1>
        <a:srgbClr val="2473BA"/>
      </a:accent1>
      <a:accent2>
        <a:srgbClr val="6DAD46"/>
      </a:accent2>
      <a:accent3>
        <a:srgbClr val="510556"/>
      </a:accent3>
      <a:accent4>
        <a:srgbClr val="8A104C"/>
      </a:accent4>
      <a:accent5>
        <a:srgbClr val="C8411D"/>
      </a:accent5>
      <a:accent6>
        <a:srgbClr val="FF9900"/>
      </a:accent6>
      <a:hlink>
        <a:srgbClr val="7BC3E1"/>
      </a:hlink>
      <a:folHlink>
        <a:srgbClr val="7BC3E1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2573BA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5875">
          <a:solidFill>
            <a:schemeClr val="bg1">
              <a:lumMod val="50000"/>
            </a:schemeClr>
          </a:solidFill>
          <a:prstDash val="sysDot"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Biogen_Campaign PPT Template_7.17.2020" id="{B045599E-4577-8948-8CB3-735A37F2EE93}" vid="{C4F5560A-D7BC-694A-AC0A-627E5DC798DB}"/>
    </a:ext>
  </a:extLst>
</a:theme>
</file>

<file path=ppt/theme/theme3.xml><?xml version="1.0" encoding="utf-8"?>
<a:theme xmlns:a="http://schemas.openxmlformats.org/drawingml/2006/main" name="3_Cover and Divider Options ">
  <a:themeElements>
    <a:clrScheme name="Biogen - NEW ">
      <a:dk1>
        <a:srgbClr val="363838"/>
      </a:dk1>
      <a:lt1>
        <a:srgbClr val="FFFFFF"/>
      </a:lt1>
      <a:dk2>
        <a:srgbClr val="005B82"/>
      </a:dk2>
      <a:lt2>
        <a:srgbClr val="578196"/>
      </a:lt2>
      <a:accent1>
        <a:srgbClr val="2473BA"/>
      </a:accent1>
      <a:accent2>
        <a:srgbClr val="6DAD46"/>
      </a:accent2>
      <a:accent3>
        <a:srgbClr val="510556"/>
      </a:accent3>
      <a:accent4>
        <a:srgbClr val="8A104C"/>
      </a:accent4>
      <a:accent5>
        <a:srgbClr val="C8411D"/>
      </a:accent5>
      <a:accent6>
        <a:srgbClr val="FF9900"/>
      </a:accent6>
      <a:hlink>
        <a:srgbClr val="7BC3E1"/>
      </a:hlink>
      <a:folHlink>
        <a:srgbClr val="7BC3E1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2573BA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5875">
          <a:solidFill>
            <a:schemeClr val="bg1">
              <a:lumMod val="50000"/>
            </a:schemeClr>
          </a:solidFill>
          <a:prstDash val="sysDot"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Biogen_Campaign PPT Template_7.17.2020" id="{B045599E-4577-8948-8CB3-735A37F2EE93}" vid="{94594FBA-B0D2-5444-BA63-58F1E6B5698C}"/>
    </a:ext>
  </a:extLst>
</a:theme>
</file>

<file path=ppt/theme/theme4.xml><?xml version="1.0" encoding="utf-8"?>
<a:theme xmlns:a="http://schemas.openxmlformats.org/drawingml/2006/main" name="4_Multiple Sclerosis">
  <a:themeElements>
    <a:clrScheme name="Biogen - NEW ">
      <a:dk1>
        <a:srgbClr val="363838"/>
      </a:dk1>
      <a:lt1>
        <a:srgbClr val="FFFFFF"/>
      </a:lt1>
      <a:dk2>
        <a:srgbClr val="005B82"/>
      </a:dk2>
      <a:lt2>
        <a:srgbClr val="578196"/>
      </a:lt2>
      <a:accent1>
        <a:srgbClr val="2473BA"/>
      </a:accent1>
      <a:accent2>
        <a:srgbClr val="6DAD46"/>
      </a:accent2>
      <a:accent3>
        <a:srgbClr val="510556"/>
      </a:accent3>
      <a:accent4>
        <a:srgbClr val="8A104C"/>
      </a:accent4>
      <a:accent5>
        <a:srgbClr val="C8411D"/>
      </a:accent5>
      <a:accent6>
        <a:srgbClr val="FF9900"/>
      </a:accent6>
      <a:hlink>
        <a:srgbClr val="7BC3E1"/>
      </a:hlink>
      <a:folHlink>
        <a:srgbClr val="7BC3E1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2573BA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5875">
          <a:solidFill>
            <a:schemeClr val="bg1">
              <a:lumMod val="50000"/>
            </a:schemeClr>
          </a:solidFill>
          <a:prstDash val="sysDot"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Biogen_Campaign PPT Template_7.17.2020" id="{B045599E-4577-8948-8CB3-735A37F2EE93}" vid="{6B7EBAC1-131C-314C-8D72-C2F2ED777696}"/>
    </a:ext>
  </a:extLst>
</a:theme>
</file>

<file path=ppt/theme/theme5.xml><?xml version="1.0" encoding="utf-8"?>
<a:theme xmlns:a="http://schemas.openxmlformats.org/drawingml/2006/main" name="4_Spinal Muscular Atrophy">
  <a:themeElements>
    <a:clrScheme name="Biogen - NEW ">
      <a:dk1>
        <a:srgbClr val="363838"/>
      </a:dk1>
      <a:lt1>
        <a:srgbClr val="FFFFFF"/>
      </a:lt1>
      <a:dk2>
        <a:srgbClr val="005B82"/>
      </a:dk2>
      <a:lt2>
        <a:srgbClr val="578196"/>
      </a:lt2>
      <a:accent1>
        <a:srgbClr val="2473BA"/>
      </a:accent1>
      <a:accent2>
        <a:srgbClr val="6DAD46"/>
      </a:accent2>
      <a:accent3>
        <a:srgbClr val="510556"/>
      </a:accent3>
      <a:accent4>
        <a:srgbClr val="8A104C"/>
      </a:accent4>
      <a:accent5>
        <a:srgbClr val="C8411D"/>
      </a:accent5>
      <a:accent6>
        <a:srgbClr val="FF9900"/>
      </a:accent6>
      <a:hlink>
        <a:srgbClr val="7BC3E1"/>
      </a:hlink>
      <a:folHlink>
        <a:srgbClr val="7BC3E1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2573BA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5875">
          <a:solidFill>
            <a:schemeClr val="bg1">
              <a:lumMod val="50000"/>
            </a:schemeClr>
          </a:solidFill>
          <a:prstDash val="sysDot"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Biogen_Campaign PPT Template_7.17.2020" id="{B045599E-4577-8948-8CB3-735A37F2EE93}" vid="{817CC593-05CE-6142-9DE9-9B9FCD4907B2}"/>
    </a:ext>
  </a:extLst>
</a:theme>
</file>

<file path=ppt/theme/theme6.xml><?xml version="1.0" encoding="utf-8"?>
<a:theme xmlns:a="http://schemas.openxmlformats.org/drawingml/2006/main" name="5_Alzheimer's Disease">
  <a:themeElements>
    <a:clrScheme name="Biogen - NEW ">
      <a:dk1>
        <a:srgbClr val="363838"/>
      </a:dk1>
      <a:lt1>
        <a:srgbClr val="FFFFFF"/>
      </a:lt1>
      <a:dk2>
        <a:srgbClr val="005B82"/>
      </a:dk2>
      <a:lt2>
        <a:srgbClr val="578196"/>
      </a:lt2>
      <a:accent1>
        <a:srgbClr val="2473BA"/>
      </a:accent1>
      <a:accent2>
        <a:srgbClr val="6DAD46"/>
      </a:accent2>
      <a:accent3>
        <a:srgbClr val="510556"/>
      </a:accent3>
      <a:accent4>
        <a:srgbClr val="8A104C"/>
      </a:accent4>
      <a:accent5>
        <a:srgbClr val="C8411D"/>
      </a:accent5>
      <a:accent6>
        <a:srgbClr val="FF9900"/>
      </a:accent6>
      <a:hlink>
        <a:srgbClr val="7BC3E1"/>
      </a:hlink>
      <a:folHlink>
        <a:srgbClr val="7BC3E1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2573BA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5875">
          <a:solidFill>
            <a:schemeClr val="bg1">
              <a:lumMod val="50000"/>
            </a:schemeClr>
          </a:solidFill>
          <a:prstDash val="sysDot"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Biogen_Campaign PPT Template_7.17.2020" id="{B045599E-4577-8948-8CB3-735A37F2EE93}" vid="{6F8E6371-6A77-1B46-9F0A-B45AC484DBE7}"/>
    </a:ext>
  </a:extLst>
</a:theme>
</file>

<file path=ppt/theme/theme7.xml><?xml version="1.0" encoding="utf-8"?>
<a:theme xmlns:a="http://schemas.openxmlformats.org/drawingml/2006/main" name="6_Choroideremia">
  <a:themeElements>
    <a:clrScheme name="Biogen - NEW ">
      <a:dk1>
        <a:srgbClr val="363838"/>
      </a:dk1>
      <a:lt1>
        <a:srgbClr val="FFFFFF"/>
      </a:lt1>
      <a:dk2>
        <a:srgbClr val="005B82"/>
      </a:dk2>
      <a:lt2>
        <a:srgbClr val="578196"/>
      </a:lt2>
      <a:accent1>
        <a:srgbClr val="2473BA"/>
      </a:accent1>
      <a:accent2>
        <a:srgbClr val="6DAD46"/>
      </a:accent2>
      <a:accent3>
        <a:srgbClr val="510556"/>
      </a:accent3>
      <a:accent4>
        <a:srgbClr val="8A104C"/>
      </a:accent4>
      <a:accent5>
        <a:srgbClr val="C8411D"/>
      </a:accent5>
      <a:accent6>
        <a:srgbClr val="FF9900"/>
      </a:accent6>
      <a:hlink>
        <a:srgbClr val="7BC3E1"/>
      </a:hlink>
      <a:folHlink>
        <a:srgbClr val="7BC3E1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2573BA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5875">
          <a:solidFill>
            <a:schemeClr val="bg1">
              <a:lumMod val="50000"/>
            </a:schemeClr>
          </a:solidFill>
          <a:prstDash val="sysDot"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Biogen_Campaign PPT Template_7.17.2020" id="{B045599E-4577-8948-8CB3-735A37F2EE93}" vid="{F904FADE-135F-FC4F-9A9B-654A46CE48DB}"/>
    </a:ext>
  </a:extLst>
</a:theme>
</file>

<file path=ppt/theme/theme8.xml><?xml version="1.0" encoding="utf-8"?>
<a:theme xmlns:a="http://schemas.openxmlformats.org/drawingml/2006/main" name="7_ALS">
  <a:themeElements>
    <a:clrScheme name="Biogen - NEW ">
      <a:dk1>
        <a:srgbClr val="363838"/>
      </a:dk1>
      <a:lt1>
        <a:srgbClr val="FFFFFF"/>
      </a:lt1>
      <a:dk2>
        <a:srgbClr val="005B82"/>
      </a:dk2>
      <a:lt2>
        <a:srgbClr val="578196"/>
      </a:lt2>
      <a:accent1>
        <a:srgbClr val="2473BA"/>
      </a:accent1>
      <a:accent2>
        <a:srgbClr val="6DAD46"/>
      </a:accent2>
      <a:accent3>
        <a:srgbClr val="510556"/>
      </a:accent3>
      <a:accent4>
        <a:srgbClr val="8A104C"/>
      </a:accent4>
      <a:accent5>
        <a:srgbClr val="C8411D"/>
      </a:accent5>
      <a:accent6>
        <a:srgbClr val="FF9900"/>
      </a:accent6>
      <a:hlink>
        <a:srgbClr val="7BC3E1"/>
      </a:hlink>
      <a:folHlink>
        <a:srgbClr val="7BC3E1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2573BA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5875">
          <a:solidFill>
            <a:schemeClr val="bg1">
              <a:lumMod val="50000"/>
            </a:schemeClr>
          </a:solidFill>
          <a:prstDash val="sysDot"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Biogen_Campaign PPT Template_7.17.2020" id="{B045599E-4577-8948-8CB3-735A37F2EE93}" vid="{E7DA7861-8064-C840-8383-2075CE5ACE0B}"/>
    </a:ext>
  </a:extLst>
</a:theme>
</file>

<file path=ppt/theme/theme9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New Biogen</Template>
  <TotalTime>28828</TotalTime>
  <Words>1147</Words>
  <Application>Microsoft Macintosh PowerPoint</Application>
  <PresentationFormat>Widescreen</PresentationFormat>
  <Paragraphs>413</Paragraphs>
  <Slides>35</Slides>
  <Notes>20</Notes>
  <HiddenSlides>0</HiddenSlides>
  <MMClips>0</MMClips>
  <ScaleCrop>false</ScaleCrop>
  <HeadingPairs>
    <vt:vector size="8" baseType="variant">
      <vt:variant>
        <vt:lpstr>Fonts Used</vt:lpstr>
      </vt:variant>
      <vt:variant>
        <vt:i4>10</vt:i4>
      </vt:variant>
      <vt:variant>
        <vt:lpstr>Theme</vt:lpstr>
      </vt:variant>
      <vt:variant>
        <vt:i4>8</vt:i4>
      </vt:variant>
      <vt:variant>
        <vt:lpstr>Embedded OLE Servers</vt:lpstr>
      </vt:variant>
      <vt:variant>
        <vt:i4>3</vt:i4>
      </vt:variant>
      <vt:variant>
        <vt:lpstr>Slide Titles</vt:lpstr>
      </vt:variant>
      <vt:variant>
        <vt:i4>35</vt:i4>
      </vt:variant>
    </vt:vector>
  </HeadingPairs>
  <TitlesOfParts>
    <vt:vector size="56" baseType="lpstr">
      <vt:lpstr>System Font Regular</vt:lpstr>
      <vt:lpstr>Arial</vt:lpstr>
      <vt:lpstr>Arial Narrow</vt:lpstr>
      <vt:lpstr>Calibri</vt:lpstr>
      <vt:lpstr>Century Gothic</vt:lpstr>
      <vt:lpstr>Helvetica</vt:lpstr>
      <vt:lpstr>Helvetica Neue</vt:lpstr>
      <vt:lpstr>Menlo</vt:lpstr>
      <vt:lpstr>Segoe UI</vt:lpstr>
      <vt:lpstr>Wingdings</vt:lpstr>
      <vt:lpstr>New Biogen</vt:lpstr>
      <vt:lpstr>2_Biogen_White</vt:lpstr>
      <vt:lpstr>3_Cover and Divider Options </vt:lpstr>
      <vt:lpstr>4_Multiple Sclerosis</vt:lpstr>
      <vt:lpstr>4_Spinal Muscular Atrophy</vt:lpstr>
      <vt:lpstr>5_Alzheimer's Disease</vt:lpstr>
      <vt:lpstr>6_Choroideremia</vt:lpstr>
      <vt:lpstr>7_ALS</vt:lpstr>
      <vt:lpstr>think-cell Slide</vt:lpstr>
      <vt:lpstr>CS ChemDraw Drawing</vt:lpstr>
      <vt:lpstr>Worksheet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RNA-seq Study #1</vt:lpstr>
      <vt:lpstr>RNA-seq Study #2</vt:lpstr>
      <vt:lpstr>PowerPoint Presentation</vt:lpstr>
      <vt:lpstr>PowerPoint Presentation</vt:lpstr>
      <vt:lpstr>Sample similarity from Gene Expression (1st exp)</vt:lpstr>
      <vt:lpstr>Sample similarity from Gene Expression (2nd  exp raw)</vt:lpstr>
      <vt:lpstr>Sample similarity from Gene Expression (2nd  exp raw after removal of low-quality samples)</vt:lpstr>
      <vt:lpstr>Sample similarity from Gene Expression (2nd  exp raw after removal of R4)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Overlapped DSG (1st and 2nd Exp.)</vt:lpstr>
      <vt:lpstr>Overlapped DSG (1st and 2nd batch mutual support)</vt:lpstr>
      <vt:lpstr>Overlapped DSG (1st and 2nd batch mutual support)</vt:lpstr>
      <vt:lpstr>Overlapped DSG (1st and 2nd batch mutual support)</vt:lpstr>
      <vt:lpstr>Overlapped DSG (1st and 2nd batch mutual support)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LS HTVT</dc:title>
  <dc:creator>Sandi Engle</dc:creator>
  <cp:lastModifiedBy>Zhen Gao</cp:lastModifiedBy>
  <cp:revision>63</cp:revision>
  <dcterms:created xsi:type="dcterms:W3CDTF">2021-06-27T14:47:41Z</dcterms:created>
  <dcterms:modified xsi:type="dcterms:W3CDTF">2023-03-13T13:21:29Z</dcterms:modified>
</cp:coreProperties>
</file>